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3" r:id="rId4"/>
    <p:sldMasterId id="2147483982" r:id="rId5"/>
    <p:sldMasterId id="2147484015" r:id="rId6"/>
  </p:sldMasterIdLst>
  <p:notesMasterIdLst>
    <p:notesMasterId r:id="rId33"/>
  </p:notesMasterIdLst>
  <p:handoutMasterIdLst>
    <p:handoutMasterId r:id="rId34"/>
  </p:handoutMasterIdLst>
  <p:sldIdLst>
    <p:sldId id="2147471014" r:id="rId7"/>
    <p:sldId id="1923" r:id="rId8"/>
    <p:sldId id="2145707337" r:id="rId9"/>
    <p:sldId id="2145707338" r:id="rId10"/>
    <p:sldId id="2145707339" r:id="rId11"/>
    <p:sldId id="2145707340" r:id="rId12"/>
    <p:sldId id="2147471005" r:id="rId13"/>
    <p:sldId id="2147471006" r:id="rId14"/>
    <p:sldId id="2145707320" r:id="rId15"/>
    <p:sldId id="2145707332" r:id="rId16"/>
    <p:sldId id="2147470982" r:id="rId17"/>
    <p:sldId id="2147471002" r:id="rId18"/>
    <p:sldId id="2147471010" r:id="rId19"/>
    <p:sldId id="2145707322" r:id="rId20"/>
    <p:sldId id="2147471008" r:id="rId21"/>
    <p:sldId id="2145707331" r:id="rId22"/>
    <p:sldId id="2145707335" r:id="rId23"/>
    <p:sldId id="2147471011" r:id="rId24"/>
    <p:sldId id="2147471003" r:id="rId25"/>
    <p:sldId id="2147471015" r:id="rId26"/>
    <p:sldId id="2147471016" r:id="rId27"/>
    <p:sldId id="2147471012" r:id="rId28"/>
    <p:sldId id="2147471013" r:id="rId29"/>
    <p:sldId id="2145707336" r:id="rId30"/>
    <p:sldId id="2147470984" r:id="rId31"/>
    <p:sldId id="2147470979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959A934-3FC5-BD9D-4EF3-6E1E9967960F}" name="GREAVES, Quym (NHS ARDEN AND GREATER EAST MIDLANDS COMMISSIONING SUPPORT UNIT)" initials="QG" userId="S::quym.greaves@nhs.net::4191762f-d81b-445e-b367-c71d261b67f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Wilkinson" initials="SW" lastIdx="1" clrIdx="0">
    <p:extLst>
      <p:ext uri="{19B8F6BF-5375-455C-9EA6-DF929625EA0E}">
        <p15:presenceInfo xmlns:p15="http://schemas.microsoft.com/office/powerpoint/2012/main" userId="1186059c3be801a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84BC"/>
    <a:srgbClr val="D8D9DD"/>
    <a:srgbClr val="DDE1E4"/>
    <a:srgbClr val="425563"/>
    <a:srgbClr val="F6F8F8"/>
    <a:srgbClr val="80D2CC"/>
    <a:srgbClr val="99DBD6"/>
    <a:srgbClr val="99DDEB"/>
    <a:srgbClr val="80D4E7"/>
    <a:srgbClr val="005E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72" autoAdjust="0"/>
    <p:restoredTop sz="82614" autoAdjust="0"/>
  </p:normalViewPr>
  <p:slideViewPr>
    <p:cSldViewPr snapToGrid="0">
      <p:cViewPr varScale="1">
        <p:scale>
          <a:sx n="68" d="100"/>
          <a:sy n="68" d="100"/>
        </p:scale>
        <p:origin x="1685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bleStyles" Target="tableStyles.xml"/><Relationship Id="rId21" Type="http://schemas.openxmlformats.org/officeDocument/2006/relationships/slide" Target="slides/slide15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commentAuthors" Target="commentAuthor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aron Chalk" userId="d9c65f5b-ad60-4c2b-977b-c5170664e892" providerId="ADAL" clId="{77DC6EA4-3905-4F68-A27C-AFC222F2B877}"/>
    <pc:docChg chg="modSld">
      <pc:chgData name="Sharon Chalk" userId="d9c65f5b-ad60-4c2b-977b-c5170664e892" providerId="ADAL" clId="{77DC6EA4-3905-4F68-A27C-AFC222F2B877}" dt="2025-03-04T13:40:58.714" v="381" actId="6549"/>
      <pc:docMkLst>
        <pc:docMk/>
      </pc:docMkLst>
      <pc:sldChg chg="modSp mod">
        <pc:chgData name="Sharon Chalk" userId="d9c65f5b-ad60-4c2b-977b-c5170664e892" providerId="ADAL" clId="{77DC6EA4-3905-4F68-A27C-AFC222F2B877}" dt="2025-03-04T13:40:58.714" v="381" actId="6549"/>
        <pc:sldMkLst>
          <pc:docMk/>
          <pc:sldMk cId="613711077" sldId="2147470979"/>
        </pc:sldMkLst>
        <pc:spChg chg="mod">
          <ac:chgData name="Sharon Chalk" userId="d9c65f5b-ad60-4c2b-977b-c5170664e892" providerId="ADAL" clId="{77DC6EA4-3905-4F68-A27C-AFC222F2B877}" dt="2025-03-04T13:40:58.714" v="381" actId="6549"/>
          <ac:spMkLst>
            <pc:docMk/>
            <pc:sldMk cId="613711077" sldId="2147470979"/>
            <ac:spMk id="7" creationId="{2A2B49B7-8D32-2249-A117-A66209EFB099}"/>
          </ac:spMkLst>
        </pc:spChg>
        <pc:spChg chg="mod">
          <ac:chgData name="Sharon Chalk" userId="d9c65f5b-ad60-4c2b-977b-c5170664e892" providerId="ADAL" clId="{77DC6EA4-3905-4F68-A27C-AFC222F2B877}" dt="2025-03-04T13:30:14.981" v="372" actId="1035"/>
          <ac:spMkLst>
            <pc:docMk/>
            <pc:sldMk cId="613711077" sldId="2147470979"/>
            <ac:spMk id="9" creationId="{EE2E8F24-A068-EA25-A4FA-B53E7249CFDE}"/>
          </ac:spMkLst>
        </pc:spChg>
        <pc:spChg chg="mod">
          <ac:chgData name="Sharon Chalk" userId="d9c65f5b-ad60-4c2b-977b-c5170664e892" providerId="ADAL" clId="{77DC6EA4-3905-4F68-A27C-AFC222F2B877}" dt="2025-03-04T13:30:14.981" v="372" actId="1035"/>
          <ac:spMkLst>
            <pc:docMk/>
            <pc:sldMk cId="613711077" sldId="2147470979"/>
            <ac:spMk id="10" creationId="{86D42B9A-158D-1DF5-595B-F86278D660EA}"/>
          </ac:spMkLst>
        </pc:spChg>
        <pc:picChg chg="mod">
          <ac:chgData name="Sharon Chalk" userId="d9c65f5b-ad60-4c2b-977b-c5170664e892" providerId="ADAL" clId="{77DC6EA4-3905-4F68-A27C-AFC222F2B877}" dt="2025-03-04T13:30:00.586" v="359" actId="1076"/>
          <ac:picMkLst>
            <pc:docMk/>
            <pc:sldMk cId="613711077" sldId="2147470979"/>
            <ac:picMk id="3" creationId="{60962FE4-5171-09A5-AA24-3088E255E489}"/>
          </ac:picMkLst>
        </pc:picChg>
      </pc:sldChg>
    </pc:docChg>
  </pc:docChgLst>
  <pc:docChgLst>
    <pc:chgData name="rachel keane" userId="8d90ec56-6582-4f3c-8eb6-3038768ddcf3" providerId="ADAL" clId="{89A11CDC-0C65-42A3-B2C4-B3AF7E65A6ED}"/>
    <pc:docChg chg="undo custSel modSld">
      <pc:chgData name="rachel keane" userId="8d90ec56-6582-4f3c-8eb6-3038768ddcf3" providerId="ADAL" clId="{89A11CDC-0C65-42A3-B2C4-B3AF7E65A6ED}" dt="2025-03-04T16:57:39.038" v="649" actId="20577"/>
      <pc:docMkLst>
        <pc:docMk/>
      </pc:docMkLst>
      <pc:sldChg chg="modSp mod">
        <pc:chgData name="rachel keane" userId="8d90ec56-6582-4f3c-8eb6-3038768ddcf3" providerId="ADAL" clId="{89A11CDC-0C65-42A3-B2C4-B3AF7E65A6ED}" dt="2025-03-04T16:57:39.038" v="649" actId="20577"/>
        <pc:sldMkLst>
          <pc:docMk/>
          <pc:sldMk cId="613711077" sldId="2147470979"/>
        </pc:sldMkLst>
        <pc:spChg chg="mod">
          <ac:chgData name="rachel keane" userId="8d90ec56-6582-4f3c-8eb6-3038768ddcf3" providerId="ADAL" clId="{89A11CDC-0C65-42A3-B2C4-B3AF7E65A6ED}" dt="2025-03-04T16:57:39.038" v="649" actId="20577"/>
          <ac:spMkLst>
            <pc:docMk/>
            <pc:sldMk cId="613711077" sldId="2147470979"/>
            <ac:spMk id="7" creationId="{2A2B49B7-8D32-2249-A117-A66209EFB09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A2EEC95-64DF-BC69-FC71-A682B404867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611872-9401-5D00-CCCA-46DDE0B8B9C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6D816-94D6-40FC-B977-F8A94C7E4824}" type="datetimeFigureOut">
              <a:rPr lang="en-GB" smtClean="0"/>
              <a:t>04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056112-4593-5EC1-B7DA-2B07022F7AC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9C22BD-2C7D-A062-42A2-EA161F716A2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0EB188-56CE-4FCB-8130-436851797F6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21816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EED4C3-48B6-4E4A-9B0F-8051E56348DC}" type="datetimeFigureOut">
              <a:rPr lang="en-GB" smtClean="0"/>
              <a:t>04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4EC7EF-95E1-3D44-A982-BC7A3E9C61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16331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57560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ata results from 1:1 interactions within the system – collated and then analysed to identify patterns and potential initiatives to improving health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50707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is the type of process of building data repositories and how it is used in varied way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1953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ata to decisions – the process of why we collect and analy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0713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types of analysis we can do with data – more to an analyst than simply describing something </a:t>
            </a:r>
          </a:p>
          <a:p>
            <a:endParaRPr lang="en-GB" dirty="0"/>
          </a:p>
          <a:p>
            <a:r>
              <a:rPr lang="en-GB" dirty="0"/>
              <a:t>Analysis is part of a pathway – it isn’t a resource on its own – it should do something and should lead somew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3160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Variety of data roles within the NHS – emerging area </a:t>
            </a:r>
          </a:p>
          <a:p>
            <a:endParaRPr lang="en-GB" b="1" dirty="0"/>
          </a:p>
          <a:p>
            <a:r>
              <a:rPr lang="en-GB" b="1" dirty="0"/>
              <a:t>Add the session next day information RE recruitment – briefing and focus on the event – add QR code and get information </a:t>
            </a:r>
          </a:p>
          <a:p>
            <a:endParaRPr lang="en-GB" dirty="0"/>
          </a:p>
          <a:p>
            <a:r>
              <a:rPr lang="en-GB" dirty="0"/>
              <a:t>Increase engagement across the group – asking questions of each slid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83673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9165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ech used </a:t>
            </a:r>
          </a:p>
          <a:p>
            <a:endParaRPr lang="en-GB" dirty="0"/>
          </a:p>
          <a:p>
            <a:r>
              <a:rPr lang="en-GB" dirty="0"/>
              <a:t>TO ADD????</a:t>
            </a:r>
          </a:p>
          <a:p>
            <a:endParaRPr lang="en-GB" dirty="0"/>
          </a:p>
          <a:p>
            <a:endParaRPr lang="en-GB" dirty="0"/>
          </a:p>
          <a:p>
            <a:r>
              <a:rPr lang="en-GB" dirty="0" err="1"/>
              <a:t>Github</a:t>
            </a:r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16241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45626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hallenge A:  data analysis using excel – one month worth of prescribing data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64868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hallenge A:  data analysis using excel – one month worth of prescribing data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53113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7293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hallenge A:  data analysis using excel – one month worth of prescribing data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9558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55903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92104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irthday is the 5</a:t>
            </a:r>
            <a:r>
              <a:rPr lang="en-GB" baseline="30000" dirty="0"/>
              <a:t>th</a:t>
            </a:r>
            <a:r>
              <a:rPr lang="en-GB" dirty="0"/>
              <a:t> July </a:t>
            </a:r>
          </a:p>
          <a:p>
            <a:endParaRPr lang="en-GB" dirty="0"/>
          </a:p>
          <a:p>
            <a:r>
              <a:rPr lang="en-GB" dirty="0"/>
              <a:t>Aneurin Bevan Nye Bevan was the first minister for health </a:t>
            </a:r>
          </a:p>
          <a:p>
            <a:endParaRPr lang="en-GB" dirty="0"/>
          </a:p>
          <a:p>
            <a:r>
              <a:rPr lang="en-GB" dirty="0"/>
              <a:t>Role to make a secure environment for health – prior to this health was a lottery – some places depended on charity hospitals, others covered by LA rates, others had to pay or via insurance scheme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88965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ealthcare provision in a hospital can be measured across </a:t>
            </a:r>
          </a:p>
          <a:p>
            <a:endParaRPr lang="en-GB" dirty="0"/>
          </a:p>
          <a:p>
            <a:r>
              <a:rPr lang="en-GB" dirty="0"/>
              <a:t>Elective care – patients are booked in to see a clinician – planned </a:t>
            </a:r>
          </a:p>
          <a:p>
            <a:r>
              <a:rPr lang="en-GB" dirty="0"/>
              <a:t>Emergency – patients attend hospital unexpectedly </a:t>
            </a:r>
          </a:p>
          <a:p>
            <a:endParaRPr lang="en-GB" dirty="0"/>
          </a:p>
          <a:p>
            <a:r>
              <a:rPr lang="en-GB" dirty="0"/>
              <a:t>This figure is impacted by a variety of determinants of health that span genetics, where we live, what we choose, the environments we live in, all the way through to the </a:t>
            </a:r>
            <a:r>
              <a:rPr lang="en-GB" dirty="0" err="1"/>
              <a:t>macor</a:t>
            </a:r>
            <a:r>
              <a:rPr lang="en-GB" dirty="0"/>
              <a:t> socio economic systems that impact us 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8972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rom a total health and social care budget of 190 billion </a:t>
            </a:r>
          </a:p>
          <a:p>
            <a:endParaRPr lang="en-GB" dirty="0"/>
          </a:p>
          <a:p>
            <a:r>
              <a:rPr lang="en-GB" dirty="0"/>
              <a:t>Public health grant to local authorities is 3.6 billion – health isn’t just </a:t>
            </a:r>
            <a:r>
              <a:rPr lang="en-GB" dirty="0" err="1"/>
              <a:t>aboyut</a:t>
            </a:r>
            <a:r>
              <a:rPr lang="en-GB" dirty="0"/>
              <a:t> treatment – or as we refer to it downstream – we often have to focus on prevention (upstream) so that people get sicker later in life and we don’t spend as much time and money on treatment focuss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1297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value of NHS data in benefits to the NHS system and to patients – as discovered by Ernst and young 2019 </a:t>
            </a:r>
          </a:p>
          <a:p>
            <a:r>
              <a:rPr lang="en-GB" dirty="0"/>
              <a:t>Shows the value of utilising data to create a system which is using the insight to make itself and the outcomes for patients better – the cost of not utilising it therefore is considerable in both economic and also health outcome terms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76223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y crunch all the data – and attempt to be innovative and interesting and make the data count when decision makers are using it – data needs to have impac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8808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d to the chat you hopes for this challeng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44410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 might remove thi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4EC7EF-95E1-3D44-A982-BC7A3E9C617E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6206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2.png"/><Relationship Id="rId7" Type="http://schemas.openxmlformats.org/officeDocument/2006/relationships/image" Target="../media/image16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2.png"/><Relationship Id="rId7" Type="http://schemas.openxmlformats.org/officeDocument/2006/relationships/image" Target="../media/image2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23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9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9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sv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29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28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3.svg"/><Relationship Id="rId5" Type="http://schemas.openxmlformats.org/officeDocument/2006/relationships/image" Target="../media/image23.png"/><Relationship Id="rId4" Type="http://schemas.openxmlformats.org/officeDocument/2006/relationships/image" Target="../media/image29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title slide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598E9D71-498A-0294-DB92-FA8A45963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30720" y="-508517"/>
            <a:ext cx="11319578" cy="80056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D054BE-B63C-B248-A010-D04767679C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000" y="1002268"/>
            <a:ext cx="4643853" cy="250769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5400" b="1" spc="-3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B3AB80-4EA2-FC4A-9654-92EF4DFF45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2000" y="3600000"/>
            <a:ext cx="7973051" cy="10249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80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80857E-40D1-074A-8CBC-E3E38E695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002280" cy="365125"/>
          </a:xfrm>
          <a:prstGeom prst="rect">
            <a:avLst/>
          </a:prstGeom>
        </p:spPr>
        <p:txBody>
          <a:bodyPr/>
          <a:lstStyle/>
          <a:p>
            <a:fld id="{B8B67EA4-DCE3-FB49-A794-A4595EF638BC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1DEB39-6B31-D948-AF21-75D8DF423B1B}"/>
              </a:ext>
            </a:extLst>
          </p:cNvPr>
          <p:cNvSpPr txBox="1"/>
          <p:nvPr userDrawn="1"/>
        </p:nvSpPr>
        <p:spPr>
          <a:xfrm>
            <a:off x="3225114" y="601774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8E63D1E-5669-124C-90CA-03B13A7D7A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000" y="5760000"/>
            <a:ext cx="6259513" cy="4889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accent6"/>
                </a:solidFill>
              </a:defRPr>
            </a:lvl1pPr>
            <a:lvl2pPr marL="357188" indent="0">
              <a:buNone/>
              <a:defRPr>
                <a:solidFill>
                  <a:schemeClr val="accent2"/>
                </a:solidFill>
              </a:defRPr>
            </a:lvl2pPr>
            <a:lvl3pPr marL="714375" indent="0">
              <a:buNone/>
              <a:defRPr>
                <a:solidFill>
                  <a:schemeClr val="accent2"/>
                </a:solidFill>
              </a:defRPr>
            </a:lvl3pPr>
            <a:lvl4pPr marL="1081087" indent="0">
              <a:buNone/>
              <a:defRPr>
                <a:solidFill>
                  <a:schemeClr val="accent2"/>
                </a:solidFill>
              </a:defRPr>
            </a:lvl4pPr>
            <a:lvl5pPr marL="143827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F2A1D7-0D87-D844-942F-FEAD20579184}"/>
              </a:ext>
            </a:extLst>
          </p:cNvPr>
          <p:cNvSpPr txBox="1"/>
          <p:nvPr userDrawn="1"/>
        </p:nvSpPr>
        <p:spPr>
          <a:xfrm>
            <a:off x="9233452" y="5486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28D04FEF-6120-D9DF-6018-2393FD137B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51045" y="364425"/>
            <a:ext cx="1208955" cy="97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5425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rid, Titles 4UP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205929B3-ED58-E54F-B724-E24FB5F163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2000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000" y="2088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92000" y="208903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92000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4644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2000" y="3744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92000" y="4644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92000" y="3744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F5640E1-FA0E-4F42-9387-CD7C434D2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F555C5-A77A-2E44-BAF7-246298421E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1296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4B913F3-B51C-1F4F-BA00-F024BBF468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0000" y="1302462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A16CC21-F99A-6F47-A063-FA9FE06BAE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52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11DBD00-D83F-EF49-900D-B6C65CED27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00000" y="3852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9357DCD-A469-B34A-A880-D744CA731C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BA4CC6C-41AA-2D50-A8B9-63559566F4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48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lue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F1649F8-C95E-B04E-A0E7-F89193CC9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7224" y="1314156"/>
            <a:ext cx="7503849" cy="3466727"/>
          </a:xfrm>
          <a:prstGeom prst="rect">
            <a:avLst/>
          </a:prstGeom>
        </p:spPr>
        <p:txBody>
          <a:bodyPr>
            <a:noAutofit/>
          </a:bodyPr>
          <a:lstStyle>
            <a:lvl1pPr marL="288000" indent="-288000" algn="l">
              <a:buNone/>
              <a:defRPr sz="42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“Showcase quotation</a:t>
            </a:r>
            <a:br>
              <a:rPr lang="en-GB"/>
            </a:br>
            <a:r>
              <a:rPr lang="en-GB"/>
              <a:t>with left aligned text over multiple lines. Try to keep</a:t>
            </a:r>
            <a:br>
              <a:rPr lang="en-GB"/>
            </a:br>
            <a:r>
              <a:rPr lang="en-GB"/>
              <a:t>it to four lines if </a:t>
            </a:r>
            <a:r>
              <a:rPr lang="en-GB" err="1"/>
              <a:t>poss</a:t>
            </a:r>
            <a:r>
              <a:rPr lang="en-GB"/>
              <a:t> or five lines max.”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D406466E-798B-BE4C-B09F-C1B1244AAB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8000" y="4780883"/>
            <a:ext cx="7503849" cy="89693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Name Surname,</a:t>
            </a:r>
            <a:br>
              <a:rPr lang="en-GB"/>
            </a:br>
            <a:r>
              <a:rPr lang="en-GB"/>
              <a:t>Job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3FE3F0-85CD-934D-A3A3-CF2B78D73A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2A86FEEE-9136-D68E-6360-B4FDD6D917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77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E4EE10-8D4E-C85B-5620-784900182A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43F37B1-1F8A-2CA4-9D19-C0E420FB42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6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Heading label</a:t>
            </a: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2C90ABAC-E435-5C65-A8FA-9E315CE9DE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F337CE4-9082-D695-8AD8-89148114EBD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7052" y="2331691"/>
            <a:ext cx="3461285" cy="31105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386989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uot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E4EE10-8D4E-C85B-5620-784900182A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A16B251-D1BB-394C-319F-40E8F04D7F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6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Heading label</a:t>
            </a: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2C90ABAC-E435-5C65-A8FA-9E315CE9DE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542D69F-C459-8ECE-06A1-66E418FF3EC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7052" y="2331691"/>
            <a:ext cx="3461285" cy="31105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520806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and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52196E5-15CA-15E3-1E10-32B3D1992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652C93B3-5A12-5AAD-2ACF-93939EE7FBF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558B23E-2241-0C04-DC3A-1FCFC1EF8A2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7052" y="2331691"/>
            <a:ext cx="3461285" cy="31105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2800" b="1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“Add quote text here”</a:t>
            </a:r>
          </a:p>
        </p:txBody>
      </p:sp>
    </p:spTree>
    <p:extLst>
      <p:ext uri="{BB962C8B-B14F-4D97-AF65-F5344CB8AC3E}">
        <p14:creationId xmlns:p14="http://schemas.microsoft.com/office/powerpoint/2010/main" val="2841820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EB4F947-0C85-DAF2-683C-40847EF7F0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EA7B0BA1-E61A-5019-0AA4-5328CA2AB0E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A22BD2E-E9C2-A15B-06FB-553974CDE6C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7052" y="2331691"/>
            <a:ext cx="3461285" cy="31105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2800" b="1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“Add quote text here”</a:t>
            </a:r>
          </a:p>
        </p:txBody>
      </p:sp>
    </p:spTree>
    <p:extLst>
      <p:ext uri="{BB962C8B-B14F-4D97-AF65-F5344CB8AC3E}">
        <p14:creationId xmlns:p14="http://schemas.microsoft.com/office/powerpoint/2010/main" val="1231673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reaker Heading1-Blue-DarkBlu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30C3909-1482-1013-E118-A2CE0A1DD3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3119AD-4AAB-8B34-F6C1-8D76F0D453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0042" y="2242938"/>
            <a:ext cx="10515600" cy="1325563"/>
          </a:xfrm>
        </p:spPr>
        <p:txBody>
          <a:bodyPr>
            <a:noAutofit/>
          </a:bodyPr>
          <a:lstStyle>
            <a:lvl1pPr>
              <a:defRPr sz="6000" b="1"/>
            </a:lvl1pPr>
          </a:lstStyle>
          <a:p>
            <a:r>
              <a:rPr lang="en-US"/>
              <a:t>Breaker slide 1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2932" y="3564000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1987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reaker Heading1-Blue-DarkBlueA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AF6C2AD-0E53-2A94-6EDF-C2BC1C35E6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1914" y="-121920"/>
            <a:ext cx="12408747" cy="697992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3D1B5349-CF21-E9D2-92A0-6C58C15A0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688" y="2165645"/>
            <a:ext cx="10515600" cy="1325563"/>
          </a:xfrm>
        </p:spPr>
        <p:txBody>
          <a:bodyPr>
            <a:noAutofit/>
          </a:bodyPr>
          <a:lstStyle>
            <a:lvl1pPr>
              <a:defRPr sz="6000" b="1"/>
            </a:lvl1pPr>
          </a:lstStyle>
          <a:p>
            <a:r>
              <a:rPr lang="en-US"/>
              <a:t>Breaker </a:t>
            </a:r>
            <a:br>
              <a:rPr lang="en-US"/>
            </a:br>
            <a:r>
              <a:rPr lang="en-US"/>
              <a:t>slide 2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00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8953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reaker Heading1-Blue-DarkBlueA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D07C2D6-AB1B-B84B-BC13-7D79E8BCFC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6318" y="-148043"/>
            <a:ext cx="12499929" cy="7031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506D8CC-65FF-0E59-2392-2C0EBC060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7468" y="2165645"/>
            <a:ext cx="10515600" cy="1325563"/>
          </a:xfrm>
        </p:spPr>
        <p:txBody>
          <a:bodyPr>
            <a:noAutofit/>
          </a:bodyPr>
          <a:lstStyle>
            <a:lvl1pPr>
              <a:defRPr sz="6000" b="1"/>
            </a:lvl1pPr>
          </a:lstStyle>
          <a:p>
            <a:r>
              <a:rPr lang="en-US"/>
              <a:t>Breaker </a:t>
            </a:r>
            <a:br>
              <a:rPr lang="en-US"/>
            </a:br>
            <a:r>
              <a:rPr lang="en-US"/>
              <a:t>slide 3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916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9168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reaker Heading1-Blue-DarkBlueA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76489-9A30-702B-3E26-D818458928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7468" y="2165645"/>
            <a:ext cx="10515600" cy="1325563"/>
          </a:xfrm>
        </p:spPr>
        <p:txBody>
          <a:bodyPr>
            <a:noAutofit/>
          </a:bodyPr>
          <a:lstStyle>
            <a:lvl1pPr>
              <a:defRPr sz="6000" b="1"/>
            </a:lvl1pPr>
          </a:lstStyle>
          <a:p>
            <a:r>
              <a:rPr lang="en-US"/>
              <a:t>Breaker </a:t>
            </a:r>
            <a:br>
              <a:rPr lang="en-US"/>
            </a:br>
            <a:r>
              <a:rPr lang="en-US"/>
              <a:t>slide 4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4598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  <p:pic>
        <p:nvPicPr>
          <p:cNvPr id="5" name="Picture 4" descr="A blue rectangle with black background&#10;&#10;Description automatically generated">
            <a:extLst>
              <a:ext uri="{FF2B5EF4-FFF2-40B4-BE49-F238E27FC236}">
                <a16:creationId xmlns:a16="http://schemas.microsoft.com/office/drawing/2014/main" id="{D115B473-1B85-DD59-52BE-0E90A80C94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727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, content, basic text one col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138" y="414734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5138" y="1415778"/>
            <a:ext cx="7632000" cy="402644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91C7AB-7F8B-2041-80C3-EE781F24E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645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slide with image A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EF456E7-F404-A541-B6E9-27C1B10EC60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pPr algn="r"/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0355A0D-4235-0CF1-A976-C33D8CCCBF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916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E577A8-7F18-CBCC-319C-10DC2550A7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7468" y="2165645"/>
            <a:ext cx="4716354" cy="1325563"/>
          </a:xfrm>
        </p:spPr>
        <p:txBody>
          <a:bodyPr>
            <a:noAutofit/>
          </a:bodyPr>
          <a:lstStyle>
            <a:lvl1pPr>
              <a:defRPr sz="6000" b="1"/>
            </a:lvl1pPr>
          </a:lstStyle>
          <a:p>
            <a:r>
              <a:rPr lang="en-US"/>
              <a:t>Breaker </a:t>
            </a:r>
            <a:br>
              <a:rPr lang="en-US"/>
            </a:br>
            <a:r>
              <a:rPr lang="en-US"/>
              <a:t>slide 5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684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ACCESSI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6D92FD5-08EA-6BC8-29BC-BCF5EEFE18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-2509143" y="-71523"/>
            <a:ext cx="10768951" cy="7616239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77C56A3-4FFE-73CF-6F7F-1F451E5B3F1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51045" y="364425"/>
            <a:ext cx="1208955" cy="97978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9D383FB-0467-4241-BEF0-D636E88672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5715926" y="2605852"/>
            <a:ext cx="8651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0390E57B-AF19-8642-9E47-AF887F52887B}"/>
              </a:ext>
            </a:extLst>
          </p:cNvPr>
          <p:cNvSpPr txBox="1"/>
          <p:nvPr userDrawn="1"/>
        </p:nvSpPr>
        <p:spPr>
          <a:xfrm>
            <a:off x="5610770" y="2808746"/>
            <a:ext cx="4343734" cy="260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6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Thank Yo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	@nhsengl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	company/</a:t>
            </a:r>
            <a:r>
              <a:rPr kumimoji="0" lang="en-GB" sz="2400" b="1" i="0" u="none" strike="noStrike" kern="1200" cap="none" spc="2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hsengland</a:t>
            </a:r>
            <a:endParaRPr kumimoji="0" lang="en-GB" sz="2400" b="1" i="0" u="none" strike="noStrike" kern="1200" cap="none" spc="2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england.nhs.uk</a:t>
            </a:r>
            <a:endParaRPr lang="en-GB" sz="2400" b="1">
              <a:solidFill>
                <a:schemeClr val="tx1"/>
              </a:solidFill>
            </a:endParaRPr>
          </a:p>
        </p:txBody>
      </p:sp>
      <p:pic>
        <p:nvPicPr>
          <p:cNvPr id="5" name="Picture 4" descr="Twitter symbol">
            <a:extLst>
              <a:ext uri="{FF2B5EF4-FFF2-40B4-BE49-F238E27FC236}">
                <a16:creationId xmlns:a16="http://schemas.microsoft.com/office/drawing/2014/main" id="{6C1B65D7-2EE6-F44F-85AA-7C93787926C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72040" y="3665234"/>
            <a:ext cx="390144" cy="390144"/>
          </a:xfrm>
          <a:prstGeom prst="rect">
            <a:avLst/>
          </a:prstGeom>
        </p:spPr>
      </p:pic>
      <p:pic>
        <p:nvPicPr>
          <p:cNvPr id="8" name="Picture 7" descr="LinkedIn symbol">
            <a:extLst>
              <a:ext uri="{FF2B5EF4-FFF2-40B4-BE49-F238E27FC236}">
                <a16:creationId xmlns:a16="http://schemas.microsoft.com/office/drawing/2014/main" id="{F2843EE8-F6F8-9D40-92C1-94FB4DCF14B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885396" y="4266369"/>
            <a:ext cx="390144" cy="390144"/>
          </a:xfrm>
          <a:prstGeom prst="rect">
            <a:avLst/>
          </a:prstGeom>
        </p:spPr>
      </p:pic>
      <p:pic>
        <p:nvPicPr>
          <p:cNvPr id="72" name="Picture 96" descr="World-wide web symbol">
            <a:extLst>
              <a:ext uri="{FF2B5EF4-FFF2-40B4-BE49-F238E27FC236}">
                <a16:creationId xmlns:a16="http://schemas.microsoft.com/office/drawing/2014/main" id="{664BA24D-FA8C-EE4D-A2DC-491BF11D6FA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767074" y="4806522"/>
            <a:ext cx="600075" cy="60007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523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310075"/>
            <a:ext cx="11404154" cy="42672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8B4B32-B7B7-DB40-9D0C-2D4D8414C6EC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C3715D-C90E-7C4B-B312-C707773A39DD}"/>
              </a:ext>
            </a:extLst>
          </p:cNvPr>
          <p:cNvSpPr txBox="1"/>
          <p:nvPr userDrawn="1"/>
        </p:nvSpPr>
        <p:spPr>
          <a:xfrm>
            <a:off x="2232561" y="317071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7E920E-FCD4-834F-9787-A19C03BDF9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055424E-84DC-71BA-CBB2-BE0007D93C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B2922A9-9C8F-43B1-7D0A-0C7761EE45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767200"/>
            <a:ext cx="11012644" cy="5779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110834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BB6C8A-3DB7-65A9-034C-A9617BCD5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4574AD-8404-48D7-8DB8-BCC9125C3396}" type="datetimeFigureOut">
              <a:rPr lang="en-GB" smtClean="0"/>
              <a:t>04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F1BD8F-D925-088B-A779-0E7C0FAA7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72F9C5-2A1D-493D-0A56-5C3BAC9CE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67EA4-DCE3-FB49-A794-A4595EF638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443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1708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5792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1F87534-B1D7-C46B-9E66-8AC884393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8867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4 March 2025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oes XXX have further input on the proposals set out or require additional information?</a:t>
            </a:r>
            <a:br>
              <a:rPr lang="en-US"/>
            </a:br>
            <a:r>
              <a:rPr lang="en-US"/>
              <a:t>Is XXX supportive of the recommendation to x, y, z?</a:t>
            </a:r>
            <a:br>
              <a:rPr lang="en-US"/>
            </a:br>
            <a:r>
              <a:rPr lang="en-US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4404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04 March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1800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/>
              <a:t>Agenda point 1, add text here.</a:t>
            </a:r>
            <a:br>
              <a:rPr lang="en-GB"/>
            </a:br>
            <a:r>
              <a:rPr lang="en-GB"/>
              <a:t>Agenda point 2, add text here.</a:t>
            </a:r>
            <a:br>
              <a:rPr lang="en-GB"/>
            </a:br>
            <a:r>
              <a:rPr lang="en-GB"/>
              <a:t>Agenda point 3, add text here.</a:t>
            </a:r>
            <a:br>
              <a:rPr lang="en-GB"/>
            </a:br>
            <a:r>
              <a:rPr lang="en-GB"/>
              <a:t>Agenda point 4, add text here.</a:t>
            </a:r>
            <a:br>
              <a:rPr lang="en-GB"/>
            </a:br>
            <a:r>
              <a:rPr lang="en-GB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306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grey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04 March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816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ple-Icons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91C7AB-7F8B-2041-80C3-EE781F24E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741F68A-44AA-5742-B124-91614CFD14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3058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68E66E-4300-C34D-B490-E2E6A73E5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3058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37980B-A75B-014B-A7A8-9658822046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34525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8B5FF7D-C2EF-9E4C-A4CF-A835052E5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85992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77481C1-F4F0-BE4E-B991-152BB96202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37459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FBC860F-BE8A-634D-9A96-33CE6D96B9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988926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A913FF-786C-1944-BF18-E9AB064B34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140393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C22D839-E390-8340-B649-B4FC5A6CFD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291860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40EE3D-EEFC-874A-A65B-DDDE03FC32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443327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67BF2-B8EF-D949-9F15-FC3B3099AD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94794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7201170-3375-514F-99C2-E37C69039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46258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E18572B-1544-A043-9B02-7AB01C90C5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34525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D2BEC2-9D68-CC4D-A04A-BB949A02D5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85992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7415083-D44F-FE40-A8D1-7BFAC700DF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37459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E67BC68-4FB2-EE4A-A33E-6A7AF0CF41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988926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277C142-7A53-7A4A-A8FB-FBF33048E3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140393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DC5831-BE66-5045-87AF-18EBDF0274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291860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B65DE4-B016-474E-A1C1-495957C7CA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443327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8B3AA15-3E6B-C347-B0BE-F416C5684A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94794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AC0924D-A95B-1E43-84A3-825886C48D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46258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A6737CC-78B4-0C46-99B9-341CFA60EF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3058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2455CAA-C332-E746-A62B-4F86F892F9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34525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F322EA-8B44-2C46-9412-34692FAFE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85992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DB462B7-0B7F-EA46-9EFF-D26991D230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37459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F522785-C8F3-734E-AF20-487FED2CEB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988926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98AD1D6-A541-1941-8B56-2FF0936767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140393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844F750-124C-F246-BCDD-67595B93DC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291860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5499656-96AE-C649-B3C1-81D5C6F60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443327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150134-3C23-2A41-8EC0-2D0F308CD2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94794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A542EAC-EEE9-2748-9DAC-6986FFF634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46258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1CDB1A-8B42-520A-323D-5D120AA42E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195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4 March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 </a:t>
            </a:r>
            <a:br>
              <a:rPr lang="en-US"/>
            </a:br>
            <a:r>
              <a:rPr lang="en-US"/>
              <a:t>If text content appears too large please reduce the size of this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045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04 March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3081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4 March 2025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2231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tx2"/>
          </a:solidFill>
          <a:ln>
            <a:noFill/>
          </a:ln>
        </p:spPr>
        <p:txBody>
          <a:bodyPr wrap="square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4 March 2025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25200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07491-B576-4FBA-DF55-410D54CA7B16}"/>
              </a:ext>
            </a:extLst>
          </p:cNvPr>
          <p:cNvSpPr/>
          <p:nvPr userDrawn="1"/>
        </p:nvSpPr>
        <p:spPr>
          <a:xfrm>
            <a:off x="4017963" y="1820564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506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25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04 March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2525" y="1454538"/>
            <a:ext cx="52668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91644" y="1454538"/>
            <a:ext cx="52650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239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81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04 March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691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72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</p:spTree>
    <p:extLst>
      <p:ext uri="{BB962C8B-B14F-4D97-AF65-F5344CB8AC3E}">
        <p14:creationId xmlns:p14="http://schemas.microsoft.com/office/powerpoint/2010/main" val="2936778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47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The image can then be scaled within the frame by using the ‘Crop’ feature in the ‘Picture Format’ tab of the ribbon.</a:t>
            </a:r>
            <a:r>
              <a:rPr lang="en-US"/>
              <a:t>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4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3431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E2EBD-4DBA-A411-89A3-C363C68F9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E2EBD-4DBA-A411-89A3-C363C68F9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04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552711"/>
                </a:lnTo>
                <a:cubicBezTo>
                  <a:pt x="8759" y="1063964"/>
                  <a:pt x="590287" y="923198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lnTo>
                  <a:pt x="169703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1111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04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02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mple-Icons-Layout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91C7AB-7F8B-2041-80C3-EE781F24E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741F68A-44AA-5742-B124-91614CFD14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3058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E18572B-1544-A043-9B02-7AB01C90C5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34525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D2BEC2-9D68-CC4D-A04A-BB949A02D5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85992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7415083-D44F-FE40-A8D1-7BFAC700DF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37459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A6737CC-78B4-0C46-99B9-341CFA60EF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3058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2455CAA-C332-E746-A62B-4F86F892F9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34525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F322EA-8B44-2C46-9412-34692FAFE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85992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DB462B7-0B7F-EA46-9EFF-D26991D230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37459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10BDAA4-2C6C-4E47-9616-5977DD23D8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122911" y="3175160"/>
            <a:ext cx="1991467" cy="19486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691AF0D-B60D-2949-AB30-089AD6A4A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474153" y="3175160"/>
            <a:ext cx="1991467" cy="19486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76B0456-3FC3-5D44-A9F1-56A57FD0B9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825395" y="3175160"/>
            <a:ext cx="1991467" cy="19486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569F651-3737-5832-DC5A-9DB8A57B6C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A1CA835D-248C-29AB-B7DE-5AD7C7D2A8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421844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4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90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4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7201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04 March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0" tIns="72000" rIns="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Click to edit subheading text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343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D35EAFE1-FE5F-44CC-825D-16EBF058F4AD}" type="datetime4">
              <a:rPr lang="en-GB" smtClean="0"/>
              <a:t>04 March 2025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4318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B03DE9E3-FCC4-44C9-9C9C-3C907C61E776}" type="datetime4">
              <a:rPr lang="en-GB" smtClean="0"/>
              <a:t>04 March 2025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4696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04 March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TABLE icon to insert table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4459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04 March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CHART icons to insert chart.</a:t>
            </a:r>
            <a:br>
              <a:rPr lang="en-GB"/>
            </a:br>
            <a:r>
              <a:rPr lang="en-US"/>
              <a:t>Please ensure your chart title, legend, x and y axis titles are minimum 12 </a:t>
            </a:r>
            <a:r>
              <a:rPr lang="en-US" err="1"/>
              <a:t>pt</a:t>
            </a:r>
            <a:r>
              <a:rPr lang="en-US"/>
              <a:t>, Arial black for accessibility. 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996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4 March 2025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638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04 March 2025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F5241F-6CBA-AE82-8AEE-138E90E20F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219299" y="6191252"/>
            <a:ext cx="1215582" cy="56380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2514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04 March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</p:spTree>
    <p:extLst>
      <p:ext uri="{BB962C8B-B14F-4D97-AF65-F5344CB8AC3E}">
        <p14:creationId xmlns:p14="http://schemas.microsoft.com/office/powerpoint/2010/main" val="1733033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head, two columns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BB79D01-2A70-DAF1-6A65-BC0424C2FE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47E4AB90-2CB6-0646-B56C-4B58E33EC9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</p:spPr>
        <p:txBody>
          <a:bodyPr lIns="0" tIns="0" rIns="0" bIns="0" numCol="2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  <a:defRPr sz="24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 if need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</p:spPr>
        <p:txBody>
          <a:bodyPr lIns="0" tIns="0" rIns="0" bIns="0" numCol="2" spcCol="43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2200" b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8E2133D-2149-6B45-BEAB-A2D5E225B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08789" y="6336000"/>
            <a:ext cx="1139921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72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97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945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276E86-C9B6-1B20-0470-A93E9FE76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276E86-C9B6-1B20-0470-A93E9FE76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0497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42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>
                <a:solidFill>
                  <a:schemeClr val="bg1"/>
                </a:solidFill>
              </a:rPr>
              <a:t>Do not use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layouts that appear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9325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0925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2CC2E-E50C-F549-B54E-6D4C4A6D6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8883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2CC2E-E50C-F549-B54E-6D4C4A6D6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764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2CC2E-E50C-F549-B54E-6D4C4A6D6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717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4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6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2CC2E-E50C-F549-B54E-6D4C4A6D6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4511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, subhead, Three columns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2736000"/>
            <a:ext cx="11088000" cy="3456000"/>
          </a:xfrm>
          <a:prstGeom prst="rect">
            <a:avLst/>
          </a:prstGeom>
        </p:spPr>
        <p:txBody>
          <a:bodyPr lIns="0" tIns="0" rIns="0" bIns="0" numCol="3" spcCol="43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2200" b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</p:spPr>
        <p:txBody>
          <a:bodyPr lIns="0" tIns="0" rIns="0" bIns="0" numCol="2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  <a:defRPr sz="24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 if need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E4AB90-2CB6-0646-B56C-4B58E33EC9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A9D545D-FD2F-4843-8588-07EBE7DDAA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487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07F89CB-5AF7-9C7B-6503-F287E127E8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01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2CC2E-E50C-F549-B54E-6D4C4A6D6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0405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2CC2E-E50C-F549-B54E-6D4C4A6D6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89835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1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2CC2E-E50C-F549-B54E-6D4C4A6D6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9798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1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2CC2E-E50C-F549-B54E-6D4C4A6D6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73009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2CC2E-E50C-F549-B54E-6D4C4A6D6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87209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2CC2E-E50C-F549-B54E-6D4C4A6D6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0963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lide with image A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4093" y="1647568"/>
            <a:ext cx="4909569" cy="313006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ts val="42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line over a number of lines,</a:t>
            </a:r>
            <a:br>
              <a:rPr lang="en-GB"/>
            </a:br>
            <a:r>
              <a:rPr lang="en-GB"/>
              <a:t>keep to maximum of four lin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pPr algn="r"/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EF456E7-F404-A541-B6E9-27C1B10EC60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</p:spTree>
    <p:extLst>
      <p:ext uri="{BB962C8B-B14F-4D97-AF65-F5344CB8AC3E}">
        <p14:creationId xmlns:p14="http://schemas.microsoft.com/office/powerpoint/2010/main" val="3043285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Grid Boxes 4UP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F244FF8-F4E4-0514-77D0-8D8D69F933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1ACF78F6-439A-384B-9C21-D11B5B50E0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540671A-ED56-3548-A508-080ABBDB5E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77721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7721" y="2088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31884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1884" y="208903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77721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77721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39447" y="375220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1884" y="465042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DBEB741-20EA-C36A-7EF8-DE1CD1F1A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8486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18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Grid Boxes 2UP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2699082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2000" y="1691082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4378" y="2699082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24378" y="1691082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5DD270E-858A-0745-A4F5-3FE5B4919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D787DC-00EF-B13A-FE97-CE51273E86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0783BA3-377B-7D8A-0B7B-91C314676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8486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6616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44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theme" Target="../theme/theme2.xml"/><Relationship Id="rId37" Type="http://schemas.openxmlformats.org/officeDocument/2006/relationships/image" Target="../media/image21.svg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image" Target="../media/image20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image" Target="../media/image19.emf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image" Target="../media/image34.pn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56.xml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image" Target="../media/image36.jpeg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image" Target="../media/image3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CE947E-1F3C-4CE2-B205-42ACABCDF3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4187EB-CD8C-4429-80A8-057E397FF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78BCC8-525B-41FD-8646-596B1960C6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4574AD-8404-48D7-8DB8-BCC9125C3396}" type="datetimeFigureOut">
              <a:rPr lang="en-GB" smtClean="0"/>
              <a:t>04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2564A6-47BB-43DB-A152-9E15557601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33BD63-EE18-4132-8F91-68A0A2C0DA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B67EA4-DCE3-FB49-A794-A4595EF638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0448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5" r:id="rId1"/>
    <p:sldLayoutId id="2147483817" r:id="rId2"/>
    <p:sldLayoutId id="2147483833" r:id="rId3"/>
    <p:sldLayoutId id="2147483834" r:id="rId4"/>
    <p:sldLayoutId id="2147483826" r:id="rId5"/>
    <p:sldLayoutId id="2147483827" r:id="rId6"/>
    <p:sldLayoutId id="2147483818" r:id="rId7"/>
    <p:sldLayoutId id="2147483813" r:id="rId8"/>
    <p:sldLayoutId id="2147483814" r:id="rId9"/>
    <p:sldLayoutId id="2147483815" r:id="rId10"/>
    <p:sldLayoutId id="2147483719" r:id="rId11"/>
    <p:sldLayoutId id="2147483938" r:id="rId12"/>
    <p:sldLayoutId id="2147483939" r:id="rId13"/>
    <p:sldLayoutId id="2147483933" r:id="rId14"/>
    <p:sldLayoutId id="2147483824" r:id="rId15"/>
    <p:sldLayoutId id="2147483926" r:id="rId16"/>
    <p:sldLayoutId id="2147483927" r:id="rId17"/>
    <p:sldLayoutId id="2147483929" r:id="rId18"/>
    <p:sldLayoutId id="2147483928" r:id="rId19"/>
    <p:sldLayoutId id="2147483930" r:id="rId20"/>
    <p:sldLayoutId id="2147483924" r:id="rId21"/>
    <p:sldLayoutId id="2147483940" r:id="rId22"/>
    <p:sldLayoutId id="2147483968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25" imgH="424" progId="TCLayout.ActiveDocument.1">
                  <p:embed/>
                </p:oleObj>
              </mc:Choice>
              <mc:Fallback>
                <p:oleObj name="think-cell Slide" r:id="rId3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19338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5288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172450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t>04 March 2025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B7C2D6E-A9EC-414F-8A58-3207DA98D6C5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76239" y="6354213"/>
            <a:ext cx="820737" cy="24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732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3997" r:id="rId15"/>
    <p:sldLayoutId id="2147483998" r:id="rId16"/>
    <p:sldLayoutId id="2147483999" r:id="rId17"/>
    <p:sldLayoutId id="2147484000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  <p:sldLayoutId id="2147484007" r:id="rId25"/>
    <p:sldLayoutId id="2147484008" r:id="rId26"/>
    <p:sldLayoutId id="2147484009" r:id="rId27"/>
    <p:sldLayoutId id="2147484010" r:id="rId28"/>
    <p:sldLayoutId id="2147484011" r:id="rId29"/>
    <p:sldLayoutId id="2147484012" r:id="rId30"/>
    <p:sldLayoutId id="2147484013" r:id="rId31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A6A6A6"/>
          </p15:clr>
        </p15:guide>
        <p15:guide id="2" pos="7680">
          <p15:clr>
            <a:srgbClr val="A6A6A6"/>
          </p15:clr>
        </p15:guide>
        <p15:guide id="3" pos="230">
          <p15:clr>
            <a:srgbClr val="A6A6A6"/>
          </p15:clr>
        </p15:guide>
        <p15:guide id="4" pos="1301">
          <p15:clr>
            <a:srgbClr val="A6A6A6"/>
          </p15:clr>
        </p15:guide>
        <p15:guide id="5" pos="1461">
          <p15:clr>
            <a:srgbClr val="A6A6A6"/>
          </p15:clr>
        </p15:guide>
        <p15:guide id="6" pos="2531">
          <p15:clr>
            <a:srgbClr val="A6A6A6"/>
          </p15:clr>
        </p15:guide>
        <p15:guide id="7" pos="2690">
          <p15:clr>
            <a:srgbClr val="A6A6A6"/>
          </p15:clr>
        </p15:guide>
        <p15:guide id="8" pos="3759">
          <p15:clr>
            <a:srgbClr val="A6A6A6"/>
          </p15:clr>
        </p15:guide>
        <p15:guide id="9" pos="3920">
          <p15:clr>
            <a:srgbClr val="A6A6A6"/>
          </p15:clr>
        </p15:guide>
        <p15:guide id="10" pos="4989">
          <p15:clr>
            <a:srgbClr val="A6A6A6"/>
          </p15:clr>
        </p15:guide>
        <p15:guide id="11" pos="5148">
          <p15:clr>
            <a:srgbClr val="A6A6A6"/>
          </p15:clr>
        </p15:guide>
        <p15:guide id="12" pos="6218">
          <p15:clr>
            <a:srgbClr val="A6A6A6"/>
          </p15:clr>
        </p15:guide>
        <p15:guide id="13" pos="6378">
          <p15:clr>
            <a:srgbClr val="A6A6A6"/>
          </p15:clr>
        </p15:guide>
        <p15:guide id="14" pos="7449">
          <p15:clr>
            <a:srgbClr val="A6A6A6"/>
          </p15:clr>
        </p15:guide>
        <p15:guide id="15" orient="horz">
          <p15:clr>
            <a:srgbClr val="A6A6A6"/>
          </p15:clr>
        </p15:guide>
        <p15:guide id="16" orient="horz" pos="4315">
          <p15:clr>
            <a:srgbClr val="A6A6A6"/>
          </p15:clr>
        </p15:guide>
        <p15:guide id="17" orient="horz" pos="153">
          <p15:clr>
            <a:srgbClr val="A6A6A6"/>
          </p15:clr>
        </p15:guide>
        <p15:guide id="18" orient="horz" pos="686">
          <p15:clr>
            <a:srgbClr val="A6A6A6"/>
          </p15:clr>
        </p15:guide>
        <p15:guide id="19" orient="horz" pos="821">
          <p15:clr>
            <a:srgbClr val="A6A6A6"/>
          </p15:clr>
        </p15:guide>
        <p15:guide id="20" orient="horz" pos="1323">
          <p15:clr>
            <a:srgbClr val="A6A6A6"/>
          </p15:clr>
        </p15:guide>
        <p15:guide id="21" orient="horz" pos="2330">
          <p15:clr>
            <a:srgbClr val="A6A6A6"/>
          </p15:clr>
        </p15:guide>
        <p15:guide id="22" orient="horz" pos="3335">
          <p15:clr>
            <a:srgbClr val="A6A6A6"/>
          </p15:clr>
        </p15:guide>
        <p15:guide id="23" orient="horz" pos="3837">
          <p15:clr>
            <a:srgbClr val="A6A6A6"/>
          </p15:clr>
        </p15:guide>
        <p15:guide id="24" orient="horz" pos="4166">
          <p15:clr>
            <a:srgbClr val="A6A6A6"/>
          </p15:clr>
        </p15:guide>
        <p15:guide id="25" orient="horz" pos="1827">
          <p15:clr>
            <a:srgbClr val="A4A3A4"/>
          </p15:clr>
        </p15:guide>
        <p15:guide id="26" orient="horz" pos="2832">
          <p15:clr>
            <a:srgbClr val="A4A3A4"/>
          </p15:clr>
        </p15:guide>
        <p15:guide id="27" orient="horz" pos="3996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574463"/>
            <a:ext cx="10515600" cy="8614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8950"/>
            <a:ext cx="10515600" cy="28279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87747E-5981-D943-A74E-D4C7D9049F4A}" type="datetimeFigureOut">
              <a:rPr lang="en-US" smtClean="0"/>
              <a:t>3/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42CC2E-E50C-F549-B54E-6D4C4A6D6A80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E23563-ADC2-4C4D-BE64-088247B981D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1077403" y="6214838"/>
            <a:ext cx="338667" cy="33861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49D5837-8E9C-3942-B0E2-5FC8D9BE466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1516703" y="6214838"/>
            <a:ext cx="338667" cy="3386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B5AF398-5BA4-5F45-AC47-44FF30FC7F5F}"/>
              </a:ext>
            </a:extLst>
          </p:cNvPr>
          <p:cNvSpPr txBox="1"/>
          <p:nvPr userDrawn="1"/>
        </p:nvSpPr>
        <p:spPr>
          <a:xfrm>
            <a:off x="8391114" y="6261131"/>
            <a:ext cx="26088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 i="0" u="none" strike="noStrike" cap="none">
                <a:solidFill>
                  <a:srgbClr val="000000"/>
                </a:solidFill>
                <a:effectLst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Find us on social media @</a:t>
            </a:r>
            <a:r>
              <a:rPr lang="en-GB" sz="1200" b="1" i="0" u="none" strike="noStrike" cap="none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digdatagroup</a:t>
            </a:r>
            <a:endParaRPr lang="en-US" sz="1200" b="1" i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38F2AD-A7F7-8344-8F50-CFDE13925FBC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432671" y="6040655"/>
            <a:ext cx="3863842" cy="57169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453AEEB-771F-A9FA-3D10-9362CF602301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464558" y="313551"/>
            <a:ext cx="3336329" cy="89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210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</p:sldLayoutIdLs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38">
          <p15:clr>
            <a:srgbClr val="F26B43"/>
          </p15:clr>
        </p15:guide>
        <p15:guide id="2" pos="4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7" Type="http://schemas.openxmlformats.org/officeDocument/2006/relationships/image" Target="../media/image42.jpg"/><Relationship Id="rId2" Type="http://schemas.openxmlformats.org/officeDocument/2006/relationships/hyperlink" Target="mailto:info@digdata.online" TargetMode="Externa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1.gi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fif"/><Relationship Id="rId3" Type="http://schemas.openxmlformats.org/officeDocument/2006/relationships/image" Target="../media/image46.tmp"/><Relationship Id="rId7" Type="http://schemas.openxmlformats.org/officeDocument/2006/relationships/image" Target="../media/image55.jfif"/><Relationship Id="rId12" Type="http://schemas.openxmlformats.org/officeDocument/2006/relationships/image" Target="../media/image60.jf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4.jfif"/><Relationship Id="rId11" Type="http://schemas.openxmlformats.org/officeDocument/2006/relationships/image" Target="../media/image59.jfif"/><Relationship Id="rId5" Type="http://schemas.openxmlformats.org/officeDocument/2006/relationships/image" Target="../media/image53.jfif"/><Relationship Id="rId10" Type="http://schemas.openxmlformats.org/officeDocument/2006/relationships/image" Target="../media/image58.jfif"/><Relationship Id="rId4" Type="http://schemas.openxmlformats.org/officeDocument/2006/relationships/image" Target="../media/image52.jfif"/><Relationship Id="rId9" Type="http://schemas.openxmlformats.org/officeDocument/2006/relationships/image" Target="../media/image57.jfi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13" Type="http://schemas.openxmlformats.org/officeDocument/2006/relationships/image" Target="../media/image69.png"/><Relationship Id="rId18" Type="http://schemas.openxmlformats.org/officeDocument/2006/relationships/image" Target="../media/image74.svg"/><Relationship Id="rId3" Type="http://schemas.openxmlformats.org/officeDocument/2006/relationships/image" Target="../media/image46.tmp"/><Relationship Id="rId21" Type="http://schemas.openxmlformats.org/officeDocument/2006/relationships/image" Target="../media/image77.png"/><Relationship Id="rId7" Type="http://schemas.openxmlformats.org/officeDocument/2006/relationships/image" Target="../media/image63.png"/><Relationship Id="rId12" Type="http://schemas.openxmlformats.org/officeDocument/2006/relationships/image" Target="../media/image68.svg"/><Relationship Id="rId17" Type="http://schemas.openxmlformats.org/officeDocument/2006/relationships/image" Target="../media/image73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72.svg"/><Relationship Id="rId20" Type="http://schemas.openxmlformats.org/officeDocument/2006/relationships/image" Target="../media/image76.svg"/><Relationship Id="rId1" Type="http://schemas.openxmlformats.org/officeDocument/2006/relationships/slideLayout" Target="../slideLayouts/slideLayout23.xml"/><Relationship Id="rId6" Type="http://schemas.openxmlformats.org/officeDocument/2006/relationships/hyperlink" Target="https://www.fph.org.uk/media/3031/fph_systems_and_function-final-v2.pdf" TargetMode="External"/><Relationship Id="rId11" Type="http://schemas.openxmlformats.org/officeDocument/2006/relationships/image" Target="../media/image67.png"/><Relationship Id="rId5" Type="http://schemas.openxmlformats.org/officeDocument/2006/relationships/image" Target="../media/image62.svg"/><Relationship Id="rId15" Type="http://schemas.openxmlformats.org/officeDocument/2006/relationships/image" Target="../media/image71.png"/><Relationship Id="rId23" Type="http://schemas.openxmlformats.org/officeDocument/2006/relationships/image" Target="../media/image79.jpeg"/><Relationship Id="rId10" Type="http://schemas.openxmlformats.org/officeDocument/2006/relationships/image" Target="../media/image66.svg"/><Relationship Id="rId19" Type="http://schemas.openxmlformats.org/officeDocument/2006/relationships/image" Target="../media/image75.png"/><Relationship Id="rId4" Type="http://schemas.openxmlformats.org/officeDocument/2006/relationships/image" Target="../media/image61.png"/><Relationship Id="rId9" Type="http://schemas.openxmlformats.org/officeDocument/2006/relationships/image" Target="../media/image65.png"/><Relationship Id="rId14" Type="http://schemas.openxmlformats.org/officeDocument/2006/relationships/image" Target="../media/image70.svg"/><Relationship Id="rId22" Type="http://schemas.openxmlformats.org/officeDocument/2006/relationships/image" Target="../media/image7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8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46.tmp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10" Type="http://schemas.openxmlformats.org/officeDocument/2006/relationships/image" Target="../media/image86.png"/><Relationship Id="rId4" Type="http://schemas.openxmlformats.org/officeDocument/2006/relationships/hyperlink" Target="https://www.strategyunitwm.nhs.uk/sites/default/files/2021-11/Defining%20strategic%20analytics%20and%20career%20pathways%20for%20healthcare%20analysts.pdf" TargetMode="External"/><Relationship Id="rId9" Type="http://schemas.openxmlformats.org/officeDocument/2006/relationships/image" Target="../media/image8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Relationship Id="rId4" Type="http://schemas.openxmlformats.org/officeDocument/2006/relationships/hyperlink" Target="https://eur03.safelinks.protection.outlook.com/?url=https%3A%2F%2Ffuture.nhs.uk%2FDataAnalytics%2Fview%3FobjectID%3D26258896&amp;data=05%7C02%7CJames.Harrison3%40dhsc.gov.uk%7C4026e05043c746db0b9908dd50cb79aa%7C61278c3091a84c318c1fef4de8973a1c%7C1%7C0%7C638755557498194371%7CUnknown%7CTWFpbGZsb3d8eyJFbXB0eU1hcGkiOnRydWUsIlYiOiIwLjAuMDAwMCIsIlAiOiJXaW4zMiIsIkFOIjoiTWFpbCIsIldUIjoyfQ%3D%3D%7C0%7C%7C%7C&amp;sdata=1%2BvLbfG1t32PZav9RjPO2y74ftnUSxT5Ht3r8paiJZ0%3D&amp;reserved=0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8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46.tmp"/><Relationship Id="rId7" Type="http://schemas.openxmlformats.org/officeDocument/2006/relationships/image" Target="../media/image91.jpeg"/><Relationship Id="rId12" Type="http://schemas.openxmlformats.org/officeDocument/2006/relationships/image" Target="../media/image9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90.jpeg"/><Relationship Id="rId11" Type="http://schemas.openxmlformats.org/officeDocument/2006/relationships/image" Target="../media/image95.png"/><Relationship Id="rId5" Type="http://schemas.openxmlformats.org/officeDocument/2006/relationships/image" Target="../media/image89.png"/><Relationship Id="rId10" Type="http://schemas.openxmlformats.org/officeDocument/2006/relationships/image" Target="../media/image94.png"/><Relationship Id="rId4" Type="http://schemas.openxmlformats.org/officeDocument/2006/relationships/image" Target="../media/image88.png"/><Relationship Id="rId9" Type="http://schemas.openxmlformats.org/officeDocument/2006/relationships/image" Target="../media/image9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3.xml"/><Relationship Id="rId5" Type="http://schemas.openxmlformats.org/officeDocument/2006/relationships/hyperlink" Target="mailto:Info@digdata.online" TargetMode="External"/><Relationship Id="rId4" Type="http://schemas.openxmlformats.org/officeDocument/2006/relationships/hyperlink" Target="https://github.com/nhsbsa-data-analytics/dig-data-step-up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3.xml"/><Relationship Id="rId4" Type="http://schemas.openxmlformats.org/officeDocument/2006/relationships/hyperlink" Target="mailto:Info@digdata.online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gif"/><Relationship Id="rId2" Type="http://schemas.openxmlformats.org/officeDocument/2006/relationships/image" Target="../media/image46.tmp"/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tmp"/><Relationship Id="rId1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hyperlink" Target="mailto:info@digdata.onlineu" TargetMode="External"/><Relationship Id="rId7" Type="http://schemas.openxmlformats.org/officeDocument/2006/relationships/image" Target="../media/image40.jpeg"/><Relationship Id="rId2" Type="http://schemas.openxmlformats.org/officeDocument/2006/relationships/hyperlink" Target="mailto:alex@digdata.online" TargetMode="Externa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39.png"/><Relationship Id="rId5" Type="http://schemas.openxmlformats.org/officeDocument/2006/relationships/image" Target="../media/image38.jpeg"/><Relationship Id="rId10" Type="http://schemas.openxmlformats.org/officeDocument/2006/relationships/image" Target="../media/image97.png"/><Relationship Id="rId4" Type="http://schemas.openxmlformats.org/officeDocument/2006/relationships/hyperlink" Target="mailto:info@digdata.online" TargetMode="External"/><Relationship Id="rId9" Type="http://schemas.openxmlformats.org/officeDocument/2006/relationships/image" Target="../media/image42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4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6.tmp"/><Relationship Id="rId5" Type="http://schemas.openxmlformats.org/officeDocument/2006/relationships/image" Target="../media/image45.jpg"/><Relationship Id="rId4" Type="http://schemas.openxmlformats.org/officeDocument/2006/relationships/image" Target="../media/image44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s://future.nhs.uk/connect.ti/DataAnalytics/view?objectID=26258896" TargetMode="Externa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m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0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F3EC203-C6E2-9646-B68F-E6738FCF4B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36371" y="656698"/>
            <a:ext cx="6312817" cy="597408"/>
          </a:xfrm>
        </p:spPr>
        <p:txBody>
          <a:bodyPr>
            <a:noAutofit/>
          </a:bodyPr>
          <a:lstStyle/>
          <a:p>
            <a:pPr algn="l" fontAlgn="base">
              <a:lnSpc>
                <a:spcPct val="100000"/>
              </a:lnSpc>
            </a:pPr>
            <a:r>
              <a:rPr lang="en-GB" sz="2900" b="1" dirty="0">
                <a:solidFill>
                  <a:srgbClr val="FF0000"/>
                </a:solidFill>
                <a:latin typeface="+mn-lt"/>
                <a:ea typeface="Roboto Condensed"/>
              </a:rPr>
              <a:t>Welcome to the “Step Up” – </a:t>
            </a:r>
            <a:br>
              <a:rPr lang="en-GB" sz="2900" b="1" dirty="0">
                <a:solidFill>
                  <a:srgbClr val="FF0000"/>
                </a:solidFill>
                <a:latin typeface="+mn-lt"/>
                <a:ea typeface="Roboto Condensed"/>
              </a:rPr>
            </a:br>
            <a:r>
              <a:rPr lang="en-GB" sz="2900" b="1" dirty="0">
                <a:solidFill>
                  <a:srgbClr val="FF0000"/>
                </a:solidFill>
                <a:latin typeface="+mn-lt"/>
                <a:ea typeface="Roboto Condensed"/>
              </a:rPr>
              <a:t>NHS live online career challeng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F32C62-2020-4719-9324-FA2790DF07B9}"/>
              </a:ext>
            </a:extLst>
          </p:cNvPr>
          <p:cNvSpPr txBox="1"/>
          <p:nvPr/>
        </p:nvSpPr>
        <p:spPr>
          <a:xfrm>
            <a:off x="319307" y="1867741"/>
            <a:ext cx="11684291" cy="393954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65127" marR="0" lvl="0" indent="-265127" algn="l" defTabSz="3047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Watch the live NHS briefing session to meet the team and find out how to solve this career challenge.</a:t>
            </a: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e with us using the chat function only – Q&amp;A.</a:t>
            </a: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If you have any technical difficulties, please email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digdata.onlin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. </a:t>
            </a: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This call is being recorded and all attendee videos and microphones are disabled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003C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3C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" b="1" i="0" u="none" strike="noStrike" kern="1200" cap="none" spc="0" normalizeH="0" baseline="0" noProof="0" dirty="0">
              <a:ln>
                <a:noFill/>
              </a:ln>
              <a:solidFill>
                <a:srgbClr val="003C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Respectful and appropriate behaviour throughout the briefing session.</a:t>
            </a: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A positive attitude and a willingness to learn.</a:t>
            </a: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There will be several opportunities throughout today’s session to ask questions using the chat function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rn how NHS use data every day to make decisions and solve problems.</a:t>
            </a: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eive a virtual work experience certificate</a:t>
            </a: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Gain valuable data literacy skills.</a:t>
            </a:r>
          </a:p>
          <a:p>
            <a:pPr marL="265127" marR="0" lvl="0" indent="-265127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An extra curricular experience to add to your CV, LinkedIn profile and job applications. 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B2818D3B-E8DB-4219-169E-DDA53D312531}"/>
              </a:ext>
            </a:extLst>
          </p:cNvPr>
          <p:cNvSpPr/>
          <p:nvPr/>
        </p:nvSpPr>
        <p:spPr>
          <a:xfrm>
            <a:off x="319307" y="1458651"/>
            <a:ext cx="11274531" cy="57694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Today’s event – 45 minutes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EE2E8F24-A068-EA25-A4FA-B53E7249CFDE}"/>
              </a:ext>
            </a:extLst>
          </p:cNvPr>
          <p:cNvSpPr/>
          <p:nvPr/>
        </p:nvSpPr>
        <p:spPr>
          <a:xfrm>
            <a:off x="319306" y="3011049"/>
            <a:ext cx="11274531" cy="57694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What we need from you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86D42B9A-158D-1DF5-595B-F86278D660EA}"/>
              </a:ext>
            </a:extLst>
          </p:cNvPr>
          <p:cNvSpPr/>
          <p:nvPr/>
        </p:nvSpPr>
        <p:spPr>
          <a:xfrm>
            <a:off x="362298" y="4245466"/>
            <a:ext cx="11274531" cy="57694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 How will you benefit from completing this challenge?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8640A9-07CA-83B2-A75C-3EC4A7AEE02B}"/>
              </a:ext>
            </a:extLst>
          </p:cNvPr>
          <p:cNvSpPr/>
          <p:nvPr/>
        </p:nvSpPr>
        <p:spPr>
          <a:xfrm>
            <a:off x="4078951" y="307796"/>
            <a:ext cx="1429689" cy="778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5" name="Picture 2" descr="A red and white text&#10;&#10;Description automatically generated">
            <a:extLst>
              <a:ext uri="{FF2B5EF4-FFF2-40B4-BE49-F238E27FC236}">
                <a16:creationId xmlns:a16="http://schemas.microsoft.com/office/drawing/2014/main" id="{FED07FD3-0C2A-6503-2443-AED1DABACE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06" y="6060147"/>
            <a:ext cx="3922393" cy="598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28207BA-1BB3-61F7-1D7E-210036A0085F}"/>
              </a:ext>
            </a:extLst>
          </p:cNvPr>
          <p:cNvGrpSpPr/>
          <p:nvPr/>
        </p:nvGrpSpPr>
        <p:grpSpPr>
          <a:xfrm>
            <a:off x="342812" y="324524"/>
            <a:ext cx="4887817" cy="905788"/>
            <a:chOff x="342812" y="324524"/>
            <a:chExt cx="4887817" cy="905788"/>
          </a:xfrm>
        </p:grpSpPr>
        <p:pic>
          <p:nvPicPr>
            <p:cNvPr id="2" name="object 6">
              <a:extLst>
                <a:ext uri="{FF2B5EF4-FFF2-40B4-BE49-F238E27FC236}">
                  <a16:creationId xmlns:a16="http://schemas.microsoft.com/office/drawing/2014/main" id="{DF0C52BD-0428-8809-D5FB-6EE87E457CD5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62297" y="324524"/>
              <a:ext cx="4868332" cy="905788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24" name="Picture 23" descr="A logo with red letters&#10;&#10;Description automatically generated">
              <a:extLst>
                <a:ext uri="{FF2B5EF4-FFF2-40B4-BE49-F238E27FC236}">
                  <a16:creationId xmlns:a16="http://schemas.microsoft.com/office/drawing/2014/main" id="{F3EF8BE5-3333-702C-B982-3CD224AA98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812" y="334944"/>
              <a:ext cx="2269098" cy="884948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BBF5F731-2C0E-9B66-3272-AD7E00119E4E}"/>
              </a:ext>
            </a:extLst>
          </p:cNvPr>
          <p:cNvSpPr/>
          <p:nvPr/>
        </p:nvSpPr>
        <p:spPr>
          <a:xfrm>
            <a:off x="9398977" y="6019105"/>
            <a:ext cx="2604621" cy="6806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898B6E-F69F-CA5A-8E0F-0A2AC1A0BF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8125" y="6071856"/>
            <a:ext cx="3328704" cy="499915"/>
          </a:xfrm>
          <a:prstGeom prst="rect">
            <a:avLst/>
          </a:prstGeom>
        </p:spPr>
      </p:pic>
      <p:pic>
        <p:nvPicPr>
          <p:cNvPr id="13" name="Picture 12" descr="A blue and white logo&#10;&#10;Description automatically generated">
            <a:extLst>
              <a:ext uri="{FF2B5EF4-FFF2-40B4-BE49-F238E27FC236}">
                <a16:creationId xmlns:a16="http://schemas.microsoft.com/office/drawing/2014/main" id="{9B133D78-AF2E-3695-88F4-6350F446C4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204" y="359062"/>
            <a:ext cx="2221909" cy="89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6798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187A90-6F2A-C29F-67E4-CB7A0A4847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9D8788F-4BA6-2C9D-E7D5-E1C8602200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60552A7-F666-2F39-8073-3D856AE2B417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50A7F241-FD5F-2A79-8129-9C27580BB78C}"/>
              </a:ext>
            </a:extLst>
          </p:cNvPr>
          <p:cNvSpPr txBox="1"/>
          <p:nvPr/>
        </p:nvSpPr>
        <p:spPr>
          <a:xfrm>
            <a:off x="355600" y="463547"/>
            <a:ext cx="75616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/>
              <a:t>What services does the NHS provide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E06C505-0672-AF6E-3F2B-0A7953675639}"/>
              </a:ext>
            </a:extLst>
          </p:cNvPr>
          <p:cNvSpPr txBox="1"/>
          <p:nvPr/>
        </p:nvSpPr>
        <p:spPr>
          <a:xfrm>
            <a:off x="355600" y="1528195"/>
            <a:ext cx="10617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n the chat box, let us know which services you think the NHS help to deliver</a:t>
            </a:r>
          </a:p>
          <a:p>
            <a:endParaRPr lang="en-GB" dirty="0"/>
          </a:p>
          <a:p>
            <a:endParaRPr lang="en-GB" dirty="0"/>
          </a:p>
        </p:txBody>
      </p:sp>
      <p:pic>
        <p:nvPicPr>
          <p:cNvPr id="7" name="Picture 6" descr="A cartoon of a person with a question mark&#10;&#10;Description automatically generated">
            <a:extLst>
              <a:ext uri="{FF2B5EF4-FFF2-40B4-BE49-F238E27FC236}">
                <a16:creationId xmlns:a16="http://schemas.microsoft.com/office/drawing/2014/main" id="{1AAA1C6E-3C0E-7516-CD79-80CD135D86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5903" y="1847271"/>
            <a:ext cx="4391204" cy="5118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6312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726C6-EEE7-E5A1-01E2-BFB4B21A53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09CD98F-0492-8120-C039-37D82DEFC5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DF9AB1D-2A05-95A1-9E7F-15124E308046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4B7363E-A914-341D-3999-70B4F7A448FA}"/>
              </a:ext>
            </a:extLst>
          </p:cNvPr>
          <p:cNvSpPr txBox="1"/>
          <p:nvPr/>
        </p:nvSpPr>
        <p:spPr>
          <a:xfrm>
            <a:off x="355600" y="463547"/>
            <a:ext cx="84946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What services does the NHS provide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D4E5328-0FE9-EDD7-42E3-4BCB3D784292}"/>
              </a:ext>
            </a:extLst>
          </p:cNvPr>
          <p:cNvSpPr txBox="1"/>
          <p:nvPr/>
        </p:nvSpPr>
        <p:spPr>
          <a:xfrm>
            <a:off x="6140457" y="3439144"/>
            <a:ext cx="3714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Outpatient ca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A4D1AE-3D53-5207-8A87-A6D7948FCB51}"/>
              </a:ext>
            </a:extLst>
          </p:cNvPr>
          <p:cNvSpPr txBox="1"/>
          <p:nvPr/>
        </p:nvSpPr>
        <p:spPr>
          <a:xfrm>
            <a:off x="7017126" y="5655591"/>
            <a:ext cx="2960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Dentistr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4B188D-F64A-9864-136F-D9E53CD99162}"/>
              </a:ext>
            </a:extLst>
          </p:cNvPr>
          <p:cNvSpPr txBox="1"/>
          <p:nvPr/>
        </p:nvSpPr>
        <p:spPr>
          <a:xfrm>
            <a:off x="3054979" y="2641919"/>
            <a:ext cx="2888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mergency &amp; Non-Emergency inpatient ca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5B2EC9-484A-DDAB-D9E1-E3E01DEC33EF}"/>
              </a:ext>
            </a:extLst>
          </p:cNvPr>
          <p:cNvSpPr txBox="1"/>
          <p:nvPr/>
        </p:nvSpPr>
        <p:spPr>
          <a:xfrm>
            <a:off x="9244267" y="5236210"/>
            <a:ext cx="2960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eneral Practitione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400B80-50C6-FB55-1EF4-C115F0526B56}"/>
              </a:ext>
            </a:extLst>
          </p:cNvPr>
          <p:cNvSpPr txBox="1"/>
          <p:nvPr/>
        </p:nvSpPr>
        <p:spPr>
          <a:xfrm>
            <a:off x="9137022" y="2816385"/>
            <a:ext cx="2960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District Nurs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9E815A-8923-144A-12F2-5BA8B0254094}"/>
              </a:ext>
            </a:extLst>
          </p:cNvPr>
          <p:cNvSpPr txBox="1"/>
          <p:nvPr/>
        </p:nvSpPr>
        <p:spPr>
          <a:xfrm>
            <a:off x="307857" y="2978136"/>
            <a:ext cx="2960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Health Visit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162ED5E-85E0-7B47-7D08-8558FE2B31C8}"/>
              </a:ext>
            </a:extLst>
          </p:cNvPr>
          <p:cNvSpPr txBox="1"/>
          <p:nvPr/>
        </p:nvSpPr>
        <p:spPr>
          <a:xfrm>
            <a:off x="8891046" y="5896435"/>
            <a:ext cx="34523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All provide data…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7A6B84-9CF9-F2F6-4C9D-A109D4E5A30E}"/>
              </a:ext>
            </a:extLst>
          </p:cNvPr>
          <p:cNvSpPr txBox="1"/>
          <p:nvPr/>
        </p:nvSpPr>
        <p:spPr>
          <a:xfrm>
            <a:off x="3405161" y="5184216"/>
            <a:ext cx="2960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Opticia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3FBB818-084A-943A-D079-79EB8EA2A0BC}"/>
              </a:ext>
            </a:extLst>
          </p:cNvPr>
          <p:cNvSpPr txBox="1"/>
          <p:nvPr/>
        </p:nvSpPr>
        <p:spPr>
          <a:xfrm>
            <a:off x="4724902" y="6502171"/>
            <a:ext cx="2960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odiatris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5F3A30F-56A9-39BB-AE37-EBEFBF147C4C}"/>
              </a:ext>
            </a:extLst>
          </p:cNvPr>
          <p:cNvSpPr txBox="1"/>
          <p:nvPr/>
        </p:nvSpPr>
        <p:spPr>
          <a:xfrm>
            <a:off x="840214" y="6186684"/>
            <a:ext cx="2960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harmacies</a:t>
            </a:r>
          </a:p>
        </p:txBody>
      </p:sp>
      <p:pic>
        <p:nvPicPr>
          <p:cNvPr id="11" name="Picture 10" descr="A person with a stethoscope listening to a baby&#10;&#10;Description automatically generated">
            <a:extLst>
              <a:ext uri="{FF2B5EF4-FFF2-40B4-BE49-F238E27FC236}">
                <a16:creationId xmlns:a16="http://schemas.microsoft.com/office/drawing/2014/main" id="{7790BCD6-474E-97C5-B7E1-E98BCEE135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52513" y="3935176"/>
            <a:ext cx="3054978" cy="1249040"/>
          </a:xfrm>
          <a:prstGeom prst="rect">
            <a:avLst/>
          </a:prstGeom>
        </p:spPr>
      </p:pic>
      <p:pic>
        <p:nvPicPr>
          <p:cNvPr id="20" name="Picture 19" descr="A nurse putting on a bandage on a patient's leg&#10;&#10;Description automatically generated">
            <a:extLst>
              <a:ext uri="{FF2B5EF4-FFF2-40B4-BE49-F238E27FC236}">
                <a16:creationId xmlns:a16="http://schemas.microsoft.com/office/drawing/2014/main" id="{6CDC0FAD-0C3E-C8A7-6881-EE1B34384F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72532" y="1288447"/>
            <a:ext cx="2609901" cy="1553096"/>
          </a:xfrm>
          <a:prstGeom prst="rect">
            <a:avLst/>
          </a:prstGeom>
        </p:spPr>
      </p:pic>
      <p:pic>
        <p:nvPicPr>
          <p:cNvPr id="22" name="Picture 21" descr="A person sitting in a chair with a person on her eyes&#10;&#10;Description automatically generated">
            <a:extLst>
              <a:ext uri="{FF2B5EF4-FFF2-40B4-BE49-F238E27FC236}">
                <a16:creationId xmlns:a16="http://schemas.microsoft.com/office/drawing/2014/main" id="{1EEE0B36-BEC0-EC63-688B-7AED033943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20201" y="3518457"/>
            <a:ext cx="2241508" cy="1662657"/>
          </a:xfrm>
          <a:prstGeom prst="rect">
            <a:avLst/>
          </a:prstGeom>
        </p:spPr>
      </p:pic>
      <p:pic>
        <p:nvPicPr>
          <p:cNvPr id="24" name="Picture 23" descr="A group of people in a dental office&#10;&#10;Description automatically generated">
            <a:extLst>
              <a:ext uri="{FF2B5EF4-FFF2-40B4-BE49-F238E27FC236}">
                <a16:creationId xmlns:a16="http://schemas.microsoft.com/office/drawing/2014/main" id="{E9DAB775-F0C7-3539-6ACE-78BC195E7C2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7748" y="4050927"/>
            <a:ext cx="2314784" cy="1543189"/>
          </a:xfrm>
          <a:prstGeom prst="rect">
            <a:avLst/>
          </a:prstGeom>
        </p:spPr>
      </p:pic>
      <p:pic>
        <p:nvPicPr>
          <p:cNvPr id="26" name="Picture 25" descr="A person holding a clipboard in a pharmacy&#10;&#10;Description automatically generated">
            <a:extLst>
              <a:ext uri="{FF2B5EF4-FFF2-40B4-BE49-F238E27FC236}">
                <a16:creationId xmlns:a16="http://schemas.microsoft.com/office/drawing/2014/main" id="{FCF1B43C-EC15-011D-3076-CBEC0FFABE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608" y="4208153"/>
            <a:ext cx="2607673" cy="1847772"/>
          </a:xfrm>
          <a:prstGeom prst="rect">
            <a:avLst/>
          </a:prstGeom>
        </p:spPr>
      </p:pic>
      <p:pic>
        <p:nvPicPr>
          <p:cNvPr id="28" name="Picture 27" descr="A person pedicureing a foot&#10;&#10;Description automatically generated">
            <a:extLst>
              <a:ext uri="{FF2B5EF4-FFF2-40B4-BE49-F238E27FC236}">
                <a16:creationId xmlns:a16="http://schemas.microsoft.com/office/drawing/2014/main" id="{4E42E92A-073D-781F-13CA-B5CB8E07900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99219" y="5422696"/>
            <a:ext cx="1705861" cy="1133319"/>
          </a:xfrm>
          <a:prstGeom prst="rect">
            <a:avLst/>
          </a:prstGeom>
        </p:spPr>
      </p:pic>
      <p:pic>
        <p:nvPicPr>
          <p:cNvPr id="30" name="Picture 29" descr="A nurse showing a patient something on a tablet&#10;&#10;Description automatically generated">
            <a:extLst>
              <a:ext uri="{FF2B5EF4-FFF2-40B4-BE49-F238E27FC236}">
                <a16:creationId xmlns:a16="http://schemas.microsoft.com/office/drawing/2014/main" id="{031C6156-FA74-1191-8932-FBA115446D91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29554"/>
          <a:stretch/>
        </p:blipFill>
        <p:spPr>
          <a:xfrm>
            <a:off x="125008" y="1416810"/>
            <a:ext cx="2703131" cy="1439989"/>
          </a:xfrm>
          <a:prstGeom prst="rect">
            <a:avLst/>
          </a:prstGeom>
        </p:spPr>
      </p:pic>
      <p:pic>
        <p:nvPicPr>
          <p:cNvPr id="32" name="Picture 31" descr="A group of medical personnel in a hospital&#10;&#10;Description automatically generated">
            <a:extLst>
              <a:ext uri="{FF2B5EF4-FFF2-40B4-BE49-F238E27FC236}">
                <a16:creationId xmlns:a16="http://schemas.microsoft.com/office/drawing/2014/main" id="{90A85169-4882-94B9-124E-5DADDEE043B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71072" y="1160160"/>
            <a:ext cx="2255397" cy="1503598"/>
          </a:xfrm>
          <a:prstGeom prst="rect">
            <a:avLst/>
          </a:prstGeom>
        </p:spPr>
      </p:pic>
      <p:pic>
        <p:nvPicPr>
          <p:cNvPr id="34" name="Picture 33" descr="A group of people in a room&#10;&#10;Description automatically generated">
            <a:extLst>
              <a:ext uri="{FF2B5EF4-FFF2-40B4-BE49-F238E27FC236}">
                <a16:creationId xmlns:a16="http://schemas.microsoft.com/office/drawing/2014/main" id="{3D619BC8-62E5-8642-2092-82D2030DC82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54589" y="1695463"/>
            <a:ext cx="2694604" cy="1691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212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E8B557-22D8-7A03-74E9-C5D59DF6E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02AB9C-DD5A-6928-7A1C-0D18CA29AD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D2D18E-4B9E-64FB-F696-906BF0BD2C24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9FCE5B2-8C89-5186-4096-1D65C6C9B5CA}"/>
              </a:ext>
            </a:extLst>
          </p:cNvPr>
          <p:cNvSpPr txBox="1"/>
          <p:nvPr/>
        </p:nvSpPr>
        <p:spPr>
          <a:xfrm>
            <a:off x="355600" y="463547"/>
            <a:ext cx="42627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Health Intelligenc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6A2832-C380-3BF4-E40C-6AD1FF472539}"/>
              </a:ext>
            </a:extLst>
          </p:cNvPr>
          <p:cNvGrpSpPr/>
          <p:nvPr/>
        </p:nvGrpSpPr>
        <p:grpSpPr>
          <a:xfrm>
            <a:off x="331559" y="1289053"/>
            <a:ext cx="11528882" cy="2340000"/>
            <a:chOff x="332725" y="549000"/>
            <a:chExt cx="11528882" cy="250679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A42D24F-1A83-2ABA-1ECC-48278098A393}"/>
                </a:ext>
              </a:extLst>
            </p:cNvPr>
            <p:cNvSpPr/>
            <p:nvPr/>
          </p:nvSpPr>
          <p:spPr>
            <a:xfrm>
              <a:off x="332725" y="559641"/>
              <a:ext cx="11518926" cy="2769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66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ublic Health Intelligence</a:t>
              </a:r>
            </a:p>
          </p:txBody>
        </p:sp>
        <p:sp>
          <p:nvSpPr>
            <p:cNvPr id="8" name="Rectangle: Diagonal Corners Rounded 7">
              <a:extLst>
                <a:ext uri="{FF2B5EF4-FFF2-40B4-BE49-F238E27FC236}">
                  <a16:creationId xmlns:a16="http://schemas.microsoft.com/office/drawing/2014/main" id="{783A51C3-760A-845A-CA23-F93BFEBC485E}"/>
                </a:ext>
              </a:extLst>
            </p:cNvPr>
            <p:cNvSpPr/>
            <p:nvPr/>
          </p:nvSpPr>
          <p:spPr>
            <a:xfrm flipH="1">
              <a:off x="341607" y="549000"/>
              <a:ext cx="11520000" cy="2506793"/>
            </a:xfrm>
            <a:prstGeom prst="round2DiagRect">
              <a:avLst/>
            </a:prstGeom>
            <a:noFill/>
            <a:ln w="25400">
              <a:solidFill>
                <a:srgbClr val="00A18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90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9" name="Arrow: Up 8">
            <a:extLst>
              <a:ext uri="{FF2B5EF4-FFF2-40B4-BE49-F238E27FC236}">
                <a16:creationId xmlns:a16="http://schemas.microsoft.com/office/drawing/2014/main" id="{5BCD975A-B86F-419F-5F4C-11E711EFBBE9}"/>
              </a:ext>
            </a:extLst>
          </p:cNvPr>
          <p:cNvSpPr/>
          <p:nvPr/>
        </p:nvSpPr>
        <p:spPr>
          <a:xfrm>
            <a:off x="3003188" y="4874806"/>
            <a:ext cx="180000" cy="180000"/>
          </a:xfrm>
          <a:prstGeom prst="upArrow">
            <a:avLst/>
          </a:prstGeom>
          <a:solidFill>
            <a:srgbClr val="00AD93"/>
          </a:solidFill>
          <a:ln>
            <a:solidFill>
              <a:srgbClr val="00AD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Arrow: Up 9">
            <a:extLst>
              <a:ext uri="{FF2B5EF4-FFF2-40B4-BE49-F238E27FC236}">
                <a16:creationId xmlns:a16="http://schemas.microsoft.com/office/drawing/2014/main" id="{30F811AA-8CC1-44B9-2462-876EFFC265D7}"/>
              </a:ext>
            </a:extLst>
          </p:cNvPr>
          <p:cNvSpPr/>
          <p:nvPr/>
        </p:nvSpPr>
        <p:spPr>
          <a:xfrm>
            <a:off x="8837450" y="4884233"/>
            <a:ext cx="180000" cy="180000"/>
          </a:xfrm>
          <a:prstGeom prst="upArrow">
            <a:avLst/>
          </a:prstGeom>
          <a:solidFill>
            <a:srgbClr val="00AD93"/>
          </a:solidFill>
          <a:ln>
            <a:solidFill>
              <a:srgbClr val="00AD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Arrow: Up 10">
            <a:extLst>
              <a:ext uri="{FF2B5EF4-FFF2-40B4-BE49-F238E27FC236}">
                <a16:creationId xmlns:a16="http://schemas.microsoft.com/office/drawing/2014/main" id="{D3CACA5E-CB66-BA76-4A02-88A952DACD18}"/>
              </a:ext>
            </a:extLst>
          </p:cNvPr>
          <p:cNvSpPr/>
          <p:nvPr/>
        </p:nvSpPr>
        <p:spPr>
          <a:xfrm>
            <a:off x="5978380" y="3631444"/>
            <a:ext cx="180000" cy="180000"/>
          </a:xfrm>
          <a:prstGeom prst="upArrow">
            <a:avLst/>
          </a:prstGeom>
          <a:solidFill>
            <a:srgbClr val="00AD93"/>
          </a:solidFill>
          <a:ln>
            <a:solidFill>
              <a:srgbClr val="00AD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2" name="Group 11" descr="Data being collected from various sources to be used in the production of public health intelligence.">
            <a:extLst>
              <a:ext uri="{FF2B5EF4-FFF2-40B4-BE49-F238E27FC236}">
                <a16:creationId xmlns:a16="http://schemas.microsoft.com/office/drawing/2014/main" id="{EF502049-CFB5-847B-EC0E-67B870EED2F6}"/>
              </a:ext>
            </a:extLst>
          </p:cNvPr>
          <p:cNvGrpSpPr/>
          <p:nvPr/>
        </p:nvGrpSpPr>
        <p:grpSpPr>
          <a:xfrm>
            <a:off x="334834" y="3812336"/>
            <a:ext cx="11531986" cy="1080000"/>
            <a:chOff x="336000" y="3435968"/>
            <a:chExt cx="11531986" cy="1080000"/>
          </a:xfrm>
        </p:grpSpPr>
        <p:pic>
          <p:nvPicPr>
            <p:cNvPr id="13" name="Graphic 12" descr="Database outline">
              <a:extLst>
                <a:ext uri="{FF2B5EF4-FFF2-40B4-BE49-F238E27FC236}">
                  <a16:creationId xmlns:a16="http://schemas.microsoft.com/office/drawing/2014/main" id="{F526C3A9-0DB8-F7DA-87A2-538F873DB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01242" y="3663042"/>
              <a:ext cx="432000" cy="432000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4823C67-24CD-083A-F874-CF18C4603105}"/>
                </a:ext>
              </a:extLst>
            </p:cNvPr>
            <p:cNvSpPr/>
            <p:nvPr/>
          </p:nvSpPr>
          <p:spPr>
            <a:xfrm>
              <a:off x="478037" y="4010958"/>
              <a:ext cx="15282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ocio-economic</a:t>
              </a:r>
            </a:p>
          </p:txBody>
        </p:sp>
        <p:pic>
          <p:nvPicPr>
            <p:cNvPr id="15" name="Graphic 14" descr="Database outline">
              <a:extLst>
                <a:ext uri="{FF2B5EF4-FFF2-40B4-BE49-F238E27FC236}">
                  <a16:creationId xmlns:a16="http://schemas.microsoft.com/office/drawing/2014/main" id="{BD32CB92-783A-7C76-96BE-031C64450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56746" y="3655951"/>
              <a:ext cx="432000" cy="432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4A12276-D571-52B7-D4D8-E3AA5DF6AD9E}"/>
                </a:ext>
              </a:extLst>
            </p:cNvPr>
            <p:cNvSpPr/>
            <p:nvPr/>
          </p:nvSpPr>
          <p:spPr>
            <a:xfrm>
              <a:off x="6308397" y="4017871"/>
              <a:ext cx="233456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ealth and Social Care</a:t>
              </a:r>
            </a:p>
          </p:txBody>
        </p:sp>
        <p:pic>
          <p:nvPicPr>
            <p:cNvPr id="17" name="Graphic 16" descr="Database outline">
              <a:extLst>
                <a:ext uri="{FF2B5EF4-FFF2-40B4-BE49-F238E27FC236}">
                  <a16:creationId xmlns:a16="http://schemas.microsoft.com/office/drawing/2014/main" id="{B045943B-60AA-1412-79B5-79BC240126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190573" y="3670124"/>
              <a:ext cx="432000" cy="4320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A30DAA9-564C-2714-DDB6-91C488101717}"/>
                </a:ext>
              </a:extLst>
            </p:cNvPr>
            <p:cNvSpPr/>
            <p:nvPr/>
          </p:nvSpPr>
          <p:spPr>
            <a:xfrm>
              <a:off x="8838616" y="4007404"/>
              <a:ext cx="293018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sease incidence and prevalence</a:t>
              </a:r>
            </a:p>
          </p:txBody>
        </p:sp>
        <p:pic>
          <p:nvPicPr>
            <p:cNvPr id="19" name="Graphic 18" descr="Database outline">
              <a:extLst>
                <a:ext uri="{FF2B5EF4-FFF2-40B4-BE49-F238E27FC236}">
                  <a16:creationId xmlns:a16="http://schemas.microsoft.com/office/drawing/2014/main" id="{74ACB099-1434-0F10-B6F8-5CB203AC3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01957" y="3666582"/>
              <a:ext cx="432000" cy="432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9D18533-2CAA-BF81-2610-F2A8F59B6091}"/>
                </a:ext>
              </a:extLst>
            </p:cNvPr>
            <p:cNvSpPr/>
            <p:nvPr/>
          </p:nvSpPr>
          <p:spPr>
            <a:xfrm>
              <a:off x="1863820" y="4014497"/>
              <a:ext cx="127164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mographic</a:t>
              </a:r>
            </a:p>
          </p:txBody>
        </p:sp>
        <p:pic>
          <p:nvPicPr>
            <p:cNvPr id="21" name="Graphic 20" descr="Database outline">
              <a:extLst>
                <a:ext uri="{FF2B5EF4-FFF2-40B4-BE49-F238E27FC236}">
                  <a16:creationId xmlns:a16="http://schemas.microsoft.com/office/drawing/2014/main" id="{DD88081E-6A0F-32CD-ED09-38FA0A9152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14070" y="3666582"/>
              <a:ext cx="432000" cy="4320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017999A-DB67-98C2-C3E9-3536D6F8316B}"/>
                </a:ext>
              </a:extLst>
            </p:cNvPr>
            <p:cNvSpPr/>
            <p:nvPr/>
          </p:nvSpPr>
          <p:spPr>
            <a:xfrm>
              <a:off x="3331110" y="4014495"/>
              <a:ext cx="65143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lace</a:t>
              </a:r>
            </a:p>
          </p:txBody>
        </p:sp>
        <p:pic>
          <p:nvPicPr>
            <p:cNvPr id="23" name="Graphic 22" descr="Database outline">
              <a:extLst>
                <a:ext uri="{FF2B5EF4-FFF2-40B4-BE49-F238E27FC236}">
                  <a16:creationId xmlns:a16="http://schemas.microsoft.com/office/drawing/2014/main" id="{9231495A-50BC-099F-4517-20759A309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97833" y="3680757"/>
              <a:ext cx="432000" cy="432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280E266-0511-BCC0-E7F7-EB29C39C2B48}"/>
                </a:ext>
              </a:extLst>
            </p:cNvPr>
            <p:cNvSpPr/>
            <p:nvPr/>
          </p:nvSpPr>
          <p:spPr>
            <a:xfrm>
              <a:off x="3951341" y="4028672"/>
              <a:ext cx="200358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ifestyle &amp; Behaviour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169693A-28AA-F8F4-358C-1C19D4ABD940}"/>
                </a:ext>
              </a:extLst>
            </p:cNvPr>
            <p:cNvSpPr/>
            <p:nvPr/>
          </p:nvSpPr>
          <p:spPr>
            <a:xfrm>
              <a:off x="336000" y="3446622"/>
              <a:ext cx="11531986" cy="369332"/>
            </a:xfrm>
            <a:prstGeom prst="rect">
              <a:avLst/>
            </a:prstGeom>
          </p:spPr>
          <p:txBody>
            <a:bodyPr wrap="square" anchor="ctr" anchorCtr="1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66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ta</a:t>
              </a:r>
            </a:p>
          </p:txBody>
        </p:sp>
        <p:sp>
          <p:nvSpPr>
            <p:cNvPr id="26" name="Rectangle: Diagonal Corners Rounded 25">
              <a:extLst>
                <a:ext uri="{FF2B5EF4-FFF2-40B4-BE49-F238E27FC236}">
                  <a16:creationId xmlns:a16="http://schemas.microsoft.com/office/drawing/2014/main" id="{114326CC-D9DE-FAB8-EEDE-3FCC967674C0}"/>
                </a:ext>
              </a:extLst>
            </p:cNvPr>
            <p:cNvSpPr/>
            <p:nvPr/>
          </p:nvSpPr>
          <p:spPr>
            <a:xfrm flipH="1">
              <a:off x="340342" y="3435968"/>
              <a:ext cx="11520000" cy="1080000"/>
            </a:xfrm>
            <a:prstGeom prst="round2DiagRect">
              <a:avLst/>
            </a:prstGeom>
            <a:noFill/>
            <a:ln w="25400">
              <a:solidFill>
                <a:srgbClr val="00A18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90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Rectangle: Diagonal Corners Rounded 26">
            <a:extLst>
              <a:ext uri="{FF2B5EF4-FFF2-40B4-BE49-F238E27FC236}">
                <a16:creationId xmlns:a16="http://schemas.microsoft.com/office/drawing/2014/main" id="{5E9AB3B7-0025-5598-2217-32AE7924DCD9}"/>
              </a:ext>
            </a:extLst>
          </p:cNvPr>
          <p:cNvSpPr/>
          <p:nvPr/>
        </p:nvSpPr>
        <p:spPr>
          <a:xfrm flipH="1">
            <a:off x="520441" y="1539171"/>
            <a:ext cx="3600000" cy="1620000"/>
          </a:xfrm>
          <a:prstGeom prst="round2DiagRect">
            <a:avLst/>
          </a:prstGeom>
          <a:noFill/>
          <a:ln w="19050">
            <a:solidFill>
              <a:srgbClr val="00A1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lth Protec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rveill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tbreak prevention and contro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nitoring threa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munis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ectangle: Diagonal Corners Rounded 27">
            <a:extLst>
              <a:ext uri="{FF2B5EF4-FFF2-40B4-BE49-F238E27FC236}">
                <a16:creationId xmlns:a16="http://schemas.microsoft.com/office/drawing/2014/main" id="{F6B1A07F-77DE-7324-8185-1C134356396C}"/>
              </a:ext>
            </a:extLst>
          </p:cNvPr>
          <p:cNvSpPr/>
          <p:nvPr/>
        </p:nvSpPr>
        <p:spPr>
          <a:xfrm flipH="1">
            <a:off x="4294834" y="1540384"/>
            <a:ext cx="3600000" cy="1620000"/>
          </a:xfrm>
          <a:prstGeom prst="round2DiagRect">
            <a:avLst/>
          </a:prstGeom>
          <a:noFill/>
          <a:ln w="19050">
            <a:solidFill>
              <a:srgbClr val="00A1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lth Improve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eds assess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gramme develo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tnership work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vidence and evalu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Rectangle: Diagonal Corners Rounded 28">
            <a:extLst>
              <a:ext uri="{FF2B5EF4-FFF2-40B4-BE49-F238E27FC236}">
                <a16:creationId xmlns:a16="http://schemas.microsoft.com/office/drawing/2014/main" id="{AB1D1341-58DA-122C-58E8-8735ACD81A00}"/>
              </a:ext>
            </a:extLst>
          </p:cNvPr>
          <p:cNvSpPr/>
          <p:nvPr/>
        </p:nvSpPr>
        <p:spPr>
          <a:xfrm flipH="1">
            <a:off x="8069227" y="1539171"/>
            <a:ext cx="3600000" cy="1620000"/>
          </a:xfrm>
          <a:prstGeom prst="round2DiagRect">
            <a:avLst/>
          </a:prstGeom>
          <a:noFill/>
          <a:ln w="19050">
            <a:solidFill>
              <a:srgbClr val="00A1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lth serv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lth service commission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lth and social care service prioritis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qu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a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valu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988E8D7-B1BB-0348-4D4A-38A416403692}"/>
              </a:ext>
            </a:extLst>
          </p:cNvPr>
          <p:cNvSpPr/>
          <p:nvPr/>
        </p:nvSpPr>
        <p:spPr>
          <a:xfrm>
            <a:off x="329227" y="3175063"/>
            <a:ext cx="115375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lected extracts from Functions and standards of a Public Health system, Faculty of Public Healt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6"/>
              </a:rPr>
              <a:t>https://www.fph.org.uk/media/3031/fph_systems_and_function-final-v2.pdf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31" name="Group 30" descr="Services provided by different elements of the health and care system e.g. GP's, Pharmacists, Hospitals, social services, sexual health etc ">
            <a:extLst>
              <a:ext uri="{FF2B5EF4-FFF2-40B4-BE49-F238E27FC236}">
                <a16:creationId xmlns:a16="http://schemas.microsoft.com/office/drawing/2014/main" id="{66D0AF7F-28CF-AE6A-82AD-7B9677D8C488}"/>
              </a:ext>
            </a:extLst>
          </p:cNvPr>
          <p:cNvGrpSpPr/>
          <p:nvPr/>
        </p:nvGrpSpPr>
        <p:grpSpPr>
          <a:xfrm>
            <a:off x="6241469" y="5115838"/>
            <a:ext cx="5617707" cy="1497347"/>
            <a:chOff x="6277555" y="4459497"/>
            <a:chExt cx="5617707" cy="1497347"/>
          </a:xfrm>
        </p:grpSpPr>
        <p:pic>
          <p:nvPicPr>
            <p:cNvPr id="32" name="Graphic 31" descr="Medicine outline">
              <a:extLst>
                <a:ext uri="{FF2B5EF4-FFF2-40B4-BE49-F238E27FC236}">
                  <a16:creationId xmlns:a16="http://schemas.microsoft.com/office/drawing/2014/main" id="{3F7977C1-EA03-1172-BDC7-AD0C63965F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796488" y="5215171"/>
              <a:ext cx="685800" cy="685800"/>
            </a:xfrm>
            <a:prstGeom prst="rect">
              <a:avLst/>
            </a:prstGeom>
          </p:spPr>
        </p:pic>
        <p:pic>
          <p:nvPicPr>
            <p:cNvPr id="33" name="Graphic 32" descr="Baby outline">
              <a:extLst>
                <a:ext uri="{FF2B5EF4-FFF2-40B4-BE49-F238E27FC236}">
                  <a16:creationId xmlns:a16="http://schemas.microsoft.com/office/drawing/2014/main" id="{6A079D3A-B669-400C-2F4C-8B34D51B0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773945" y="4891829"/>
              <a:ext cx="685800" cy="685800"/>
            </a:xfrm>
            <a:prstGeom prst="rect">
              <a:avLst/>
            </a:prstGeom>
          </p:spPr>
        </p:pic>
        <p:pic>
          <p:nvPicPr>
            <p:cNvPr id="34" name="Graphic 33" descr="Stethoscope outline">
              <a:extLst>
                <a:ext uri="{FF2B5EF4-FFF2-40B4-BE49-F238E27FC236}">
                  <a16:creationId xmlns:a16="http://schemas.microsoft.com/office/drawing/2014/main" id="{102836D3-F68F-283B-B4DB-FBA03F7919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361245" y="4953180"/>
              <a:ext cx="685800" cy="685800"/>
            </a:xfrm>
            <a:prstGeom prst="rect">
              <a:avLst/>
            </a:prstGeom>
          </p:spPr>
        </p:pic>
        <p:pic>
          <p:nvPicPr>
            <p:cNvPr id="35" name="Graphic 34" descr="Dental Tools outline">
              <a:extLst>
                <a:ext uri="{FF2B5EF4-FFF2-40B4-BE49-F238E27FC236}">
                  <a16:creationId xmlns:a16="http://schemas.microsoft.com/office/drawing/2014/main" id="{890ECE05-4F1F-A97F-6CD7-301EE2D862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286118" y="4878332"/>
              <a:ext cx="685800" cy="685800"/>
            </a:xfrm>
            <a:prstGeom prst="rect">
              <a:avLst/>
            </a:prstGeom>
          </p:spPr>
        </p:pic>
        <p:pic>
          <p:nvPicPr>
            <p:cNvPr id="36" name="Graphic 35" descr="Hospital outline">
              <a:extLst>
                <a:ext uri="{FF2B5EF4-FFF2-40B4-BE49-F238E27FC236}">
                  <a16:creationId xmlns:a16="http://schemas.microsoft.com/office/drawing/2014/main" id="{54D12AED-95D0-054F-91D4-BF0C96C24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981268" y="5188020"/>
              <a:ext cx="685800" cy="685800"/>
            </a:xfrm>
            <a:prstGeom prst="rect">
              <a:avLst/>
            </a:prstGeom>
          </p:spPr>
        </p:pic>
        <p:pic>
          <p:nvPicPr>
            <p:cNvPr id="37" name="Graphic 36" descr="Ambulance outline">
              <a:extLst>
                <a:ext uri="{FF2B5EF4-FFF2-40B4-BE49-F238E27FC236}">
                  <a16:creationId xmlns:a16="http://schemas.microsoft.com/office/drawing/2014/main" id="{0C93F025-B1E6-6CEF-9AC8-1A62AB922D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232338" y="4660977"/>
              <a:ext cx="685800" cy="685800"/>
            </a:xfrm>
            <a:prstGeom prst="rect">
              <a:avLst/>
            </a:prstGeom>
          </p:spPr>
        </p:pic>
        <p:pic>
          <p:nvPicPr>
            <p:cNvPr id="38" name="Graphic 37" descr="No smoking outline">
              <a:extLst>
                <a:ext uri="{FF2B5EF4-FFF2-40B4-BE49-F238E27FC236}">
                  <a16:creationId xmlns:a16="http://schemas.microsoft.com/office/drawing/2014/main" id="{6CD2F62B-AD6B-8735-5DE5-AE5E4DD27A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10471536" y="4996304"/>
              <a:ext cx="685800" cy="685800"/>
            </a:xfrm>
            <a:prstGeom prst="rect">
              <a:avLst/>
            </a:prstGeom>
          </p:spPr>
        </p:pic>
        <p:pic>
          <p:nvPicPr>
            <p:cNvPr id="39" name="Graphic 38" descr="Needle outline">
              <a:extLst>
                <a:ext uri="{FF2B5EF4-FFF2-40B4-BE49-F238E27FC236}">
                  <a16:creationId xmlns:a16="http://schemas.microsoft.com/office/drawing/2014/main" id="{73C883FF-A2FF-E79E-6476-A754F77491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10927741" y="5175964"/>
              <a:ext cx="685800" cy="685800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99D063D-7E3C-C325-4974-72A0C00B0ABD}"/>
                </a:ext>
              </a:extLst>
            </p:cNvPr>
            <p:cNvSpPr/>
            <p:nvPr/>
          </p:nvSpPr>
          <p:spPr>
            <a:xfrm>
              <a:off x="6277555" y="4459497"/>
              <a:ext cx="556339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66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ealth and Social care systems</a:t>
              </a:r>
            </a:p>
          </p:txBody>
        </p:sp>
        <p:sp>
          <p:nvSpPr>
            <p:cNvPr id="41" name="Rectangle: Diagonal Corners Rounded 40">
              <a:extLst>
                <a:ext uri="{FF2B5EF4-FFF2-40B4-BE49-F238E27FC236}">
                  <a16:creationId xmlns:a16="http://schemas.microsoft.com/office/drawing/2014/main" id="{7E95E712-D966-95FE-94A1-22461BA379A9}"/>
                </a:ext>
              </a:extLst>
            </p:cNvPr>
            <p:cNvSpPr/>
            <p:nvPr/>
          </p:nvSpPr>
          <p:spPr>
            <a:xfrm flipH="1">
              <a:off x="6315262" y="4516844"/>
              <a:ext cx="5580000" cy="1440000"/>
            </a:xfrm>
            <a:prstGeom prst="round2DiagRect">
              <a:avLst/>
            </a:prstGeom>
            <a:noFill/>
            <a:ln w="25400">
              <a:solidFill>
                <a:srgbClr val="00A18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90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2" name="Group 41" descr="The Dahlgren and Whitehead model of the wider determinants of health.">
            <a:extLst>
              <a:ext uri="{FF2B5EF4-FFF2-40B4-BE49-F238E27FC236}">
                <a16:creationId xmlns:a16="http://schemas.microsoft.com/office/drawing/2014/main" id="{E7CF1FFB-3F38-99FE-F648-80DF6579F35E}"/>
              </a:ext>
            </a:extLst>
          </p:cNvPr>
          <p:cNvGrpSpPr/>
          <p:nvPr/>
        </p:nvGrpSpPr>
        <p:grpSpPr>
          <a:xfrm>
            <a:off x="355499" y="5126471"/>
            <a:ext cx="5595033" cy="1480350"/>
            <a:chOff x="336001" y="4451016"/>
            <a:chExt cx="5595033" cy="1480350"/>
          </a:xfrm>
        </p:grpSpPr>
        <p:pic>
          <p:nvPicPr>
            <p:cNvPr id="43" name="Picture 23">
              <a:extLst>
                <a:ext uri="{FF2B5EF4-FFF2-40B4-BE49-F238E27FC236}">
                  <a16:creationId xmlns:a16="http://schemas.microsoft.com/office/drawing/2014/main" id="{031F06EE-B0F0-918E-A79D-DCD8E04FA0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00715" y="4782023"/>
              <a:ext cx="1654782" cy="11028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CEA347C-5F00-2444-58FB-2D415D77F738}"/>
                </a:ext>
              </a:extLst>
            </p:cNvPr>
            <p:cNvSpPr/>
            <p:nvPr/>
          </p:nvSpPr>
          <p:spPr>
            <a:xfrm>
              <a:off x="336001" y="4451016"/>
              <a:ext cx="5574967" cy="369332"/>
            </a:xfrm>
            <a:prstGeom prst="rect">
              <a:avLst/>
            </a:prstGeom>
          </p:spPr>
          <p:txBody>
            <a:bodyPr wrap="square" anchor="ctr" anchorCtr="1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66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ider determinants of health</a:t>
              </a:r>
            </a:p>
          </p:txBody>
        </p:sp>
        <p:sp>
          <p:nvSpPr>
            <p:cNvPr id="45" name="Rectangle: Diagonal Corners Rounded 44">
              <a:extLst>
                <a:ext uri="{FF2B5EF4-FFF2-40B4-BE49-F238E27FC236}">
                  <a16:creationId xmlns:a16="http://schemas.microsoft.com/office/drawing/2014/main" id="{9FFFF22F-BB33-B443-179D-F684BD46E7BF}"/>
                </a:ext>
              </a:extLst>
            </p:cNvPr>
            <p:cNvSpPr/>
            <p:nvPr/>
          </p:nvSpPr>
          <p:spPr>
            <a:xfrm flipH="1">
              <a:off x="351034" y="4491366"/>
              <a:ext cx="5580000" cy="1440000"/>
            </a:xfrm>
            <a:prstGeom prst="round2DiagRect">
              <a:avLst/>
            </a:prstGeom>
            <a:noFill/>
            <a:ln w="25400">
              <a:solidFill>
                <a:srgbClr val="00A18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90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49987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7" grpId="0" animBg="1"/>
      <p:bldP spid="28" grpId="0" animBg="1"/>
      <p:bldP spid="29" grpId="0" animBg="1"/>
      <p:bldP spid="3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E8B557-22D8-7A03-74E9-C5D59DF6E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02AB9C-DD5A-6928-7A1C-0D18CA29AD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D2D18E-4B9E-64FB-F696-906BF0BD2C24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9FCE5B2-8C89-5186-4096-1D65C6C9B5CA}"/>
              </a:ext>
            </a:extLst>
          </p:cNvPr>
          <p:cNvSpPr txBox="1"/>
          <p:nvPr/>
        </p:nvSpPr>
        <p:spPr>
          <a:xfrm>
            <a:off x="355600" y="463547"/>
            <a:ext cx="41344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Data to decisions 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3C8FA58-D7C1-4452-DD7C-B37E0422A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3221" y="1336161"/>
            <a:ext cx="8308622" cy="4811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0410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E8B557-22D8-7A03-74E9-C5D59DF6E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02AB9C-DD5A-6928-7A1C-0D18CA29AD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D2D18E-4B9E-64FB-F696-906BF0BD2C24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9FCE5B2-8C89-5186-4096-1D65C6C9B5CA}"/>
              </a:ext>
            </a:extLst>
          </p:cNvPr>
          <p:cNvSpPr txBox="1"/>
          <p:nvPr/>
        </p:nvSpPr>
        <p:spPr>
          <a:xfrm>
            <a:off x="355600" y="463547"/>
            <a:ext cx="41258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Types of analysi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57A4AC-3FE0-8C33-DBA6-08C25FEB5EE8}"/>
              </a:ext>
            </a:extLst>
          </p:cNvPr>
          <p:cNvSpPr txBox="1"/>
          <p:nvPr/>
        </p:nvSpPr>
        <p:spPr>
          <a:xfrm>
            <a:off x="5547168" y="6310874"/>
            <a:ext cx="60940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dirty="0">
                <a:hlinkClick r:id="rId4"/>
              </a:rPr>
              <a:t>Advancing analytics in the NHS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F647183-838C-8E79-BF2B-4CF5DD44B6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9095" y="1204839"/>
            <a:ext cx="4468946" cy="50804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B699C77-1789-7EC2-2A3B-7C65153D0D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474" y="1114094"/>
            <a:ext cx="3573963" cy="12357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D6B43EA-6690-FC14-9137-FBA360A55E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2509" y="2982668"/>
            <a:ext cx="3502841" cy="118243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FDFF95-613D-75DE-3A41-B1737E4D6F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9180" y="4810054"/>
            <a:ext cx="3449498" cy="13958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80EE1C7-F222-A521-49B8-BEF4DC0889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19421" y="1105526"/>
            <a:ext cx="3449498" cy="12802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9FEC533-4A0F-85AC-8068-61125DBC2A6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98041" y="2509269"/>
            <a:ext cx="3570878" cy="1468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4547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E8B557-22D8-7A03-74E9-C5D59DF6E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02AB9C-DD5A-6928-7A1C-0D18CA29AD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D2D18E-4B9E-64FB-F696-906BF0BD2C24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9FCE5B2-8C89-5186-4096-1D65C6C9B5CA}"/>
              </a:ext>
            </a:extLst>
          </p:cNvPr>
          <p:cNvSpPr txBox="1"/>
          <p:nvPr/>
        </p:nvSpPr>
        <p:spPr>
          <a:xfrm>
            <a:off x="355600" y="463547"/>
            <a:ext cx="110422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Digital, </a:t>
            </a:r>
            <a:r>
              <a:rPr lang="en-GB" sz="3600" b="1" u="sng" dirty="0"/>
              <a:t>Data</a:t>
            </a:r>
            <a:r>
              <a:rPr lang="en-GB" sz="3600" b="1" dirty="0"/>
              <a:t> and Technology (DDAT) career role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62938B-BC11-9712-9094-D629B322D784}"/>
              </a:ext>
            </a:extLst>
          </p:cNvPr>
          <p:cNvSpPr txBox="1"/>
          <p:nvPr/>
        </p:nvSpPr>
        <p:spPr>
          <a:xfrm>
            <a:off x="355600" y="1417321"/>
            <a:ext cx="11284712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Total Number of </a:t>
            </a:r>
            <a:r>
              <a:rPr lang="en-GB" sz="2400" u="sng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Data Professionals </a:t>
            </a:r>
            <a:r>
              <a:rPr lang="en-GB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working across Health and Social Care in England 10,275</a:t>
            </a:r>
          </a:p>
          <a:p>
            <a:endParaRPr lang="en-GB" sz="2400" dirty="0">
              <a:effectLst/>
              <a:latin typeface="+mj-lt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GB" sz="2400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Data Analysts </a:t>
            </a:r>
            <a:r>
              <a:rPr lang="en-GB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8,345 (Including performance analysts)</a:t>
            </a:r>
            <a:endParaRPr lang="en-GB" sz="2400" dirty="0">
              <a:effectLst/>
              <a:latin typeface="+mj-lt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GB" sz="2400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Data Engineers </a:t>
            </a:r>
            <a:r>
              <a:rPr lang="en-GB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1,183</a:t>
            </a:r>
            <a:endParaRPr lang="en-GB" sz="2400" dirty="0">
              <a:effectLst/>
              <a:latin typeface="+mj-lt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GB" sz="2400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Data Scientists </a:t>
            </a:r>
            <a:r>
              <a:rPr lang="en-GB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515</a:t>
            </a:r>
            <a:endParaRPr lang="en-GB" sz="2400" dirty="0">
              <a:effectLst/>
              <a:latin typeface="+mj-lt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GB" sz="2400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Data Governance Manager </a:t>
            </a:r>
            <a:r>
              <a:rPr lang="en-GB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127</a:t>
            </a:r>
            <a:endParaRPr lang="en-GB" sz="2400" dirty="0">
              <a:effectLst/>
              <a:latin typeface="+mj-lt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GB" sz="2400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Data Ethicist </a:t>
            </a:r>
            <a:r>
              <a:rPr lang="en-GB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13</a:t>
            </a:r>
            <a:endParaRPr lang="en-GB" sz="2400" dirty="0">
              <a:effectLst/>
              <a:latin typeface="+mj-lt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GB" sz="2400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Analytics Engineer </a:t>
            </a:r>
            <a:r>
              <a:rPr lang="en-GB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73</a:t>
            </a:r>
            <a:endParaRPr lang="en-GB" sz="2400" dirty="0">
              <a:effectLst/>
              <a:latin typeface="+mj-lt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GB" sz="2400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Machine Learning Engineer </a:t>
            </a:r>
            <a:r>
              <a:rPr lang="en-GB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19</a:t>
            </a:r>
            <a:endParaRPr lang="en-GB" sz="2400" dirty="0">
              <a:effectLst/>
              <a:latin typeface="+mj-lt"/>
              <a:ea typeface="Aptos" panose="020B0004020202020204" pitchFamily="34" charset="0"/>
              <a:cs typeface="Aptos" panose="020B0004020202020204" pitchFamily="34" charset="0"/>
            </a:endParaRPr>
          </a:p>
          <a:p>
            <a:endParaRPr lang="en-GB" sz="240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r>
              <a:rPr lang="en-GB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</a:rPr>
              <a:t>Source </a:t>
            </a:r>
            <a:r>
              <a:rPr lang="en-GB" sz="2400" u="sng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ptos" panose="020B0004020202020204" pitchFamily="34" charset="0"/>
                <a:hlinkClick r:id="rId4"/>
              </a:rPr>
              <a:t>AnalystX Observatory - AnalystX - FutureNHS Collaboration Platform</a:t>
            </a:r>
            <a:endParaRPr lang="en-GB" sz="2400" dirty="0">
              <a:effectLst/>
              <a:latin typeface="+mj-lt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39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9C9262-B5D0-8368-107B-160F6A73FF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F723005-760B-298B-8C29-5C49D67A8B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8CB4F6-A74F-8922-0D55-A509E24CA315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75F3CAF-E3DA-4BE0-3C2A-C8C34EA550B7}"/>
              </a:ext>
            </a:extLst>
          </p:cNvPr>
          <p:cNvSpPr txBox="1"/>
          <p:nvPr/>
        </p:nvSpPr>
        <p:spPr>
          <a:xfrm>
            <a:off x="355600" y="463547"/>
            <a:ext cx="14414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Event</a:t>
            </a:r>
          </a:p>
        </p:txBody>
      </p:sp>
      <p:pic>
        <p:nvPicPr>
          <p:cNvPr id="4" name="Picture 3" descr="A qr code with a person's face&#10;&#10;Description automatically generated">
            <a:extLst>
              <a:ext uri="{FF2B5EF4-FFF2-40B4-BE49-F238E27FC236}">
                <a16:creationId xmlns:a16="http://schemas.microsoft.com/office/drawing/2014/main" id="{96C01A3D-C015-99CC-1C03-B3E9D0831F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446" y="1278082"/>
            <a:ext cx="4720119" cy="47201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D00396F-346B-06B7-CA29-555B5A53A0F3}"/>
              </a:ext>
            </a:extLst>
          </p:cNvPr>
          <p:cNvSpPr txBox="1"/>
          <p:nvPr/>
        </p:nvSpPr>
        <p:spPr>
          <a:xfrm>
            <a:off x="4820565" y="1579418"/>
            <a:ext cx="5852884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Live online recruitment briefing: </a:t>
            </a:r>
          </a:p>
          <a:p>
            <a:endParaRPr lang="en-GB" dirty="0"/>
          </a:p>
          <a:p>
            <a:r>
              <a:rPr lang="en-GB" dirty="0"/>
              <a:t>Data placement and graduate opportunities in the NHS </a:t>
            </a:r>
          </a:p>
          <a:p>
            <a:endParaRPr lang="en-GB" dirty="0"/>
          </a:p>
          <a:p>
            <a:r>
              <a:rPr lang="en-GB" dirty="0"/>
              <a:t>Wednesday 5</a:t>
            </a:r>
            <a:r>
              <a:rPr lang="en-GB" baseline="30000" dirty="0"/>
              <a:t>th</a:t>
            </a:r>
            <a:r>
              <a:rPr lang="en-GB" dirty="0"/>
              <a:t> March @ 6:30 PM via MS Teams </a:t>
            </a:r>
          </a:p>
          <a:p>
            <a:endParaRPr lang="en-GB" dirty="0"/>
          </a:p>
          <a:p>
            <a:r>
              <a:rPr lang="en-GB" dirty="0"/>
              <a:t>Use the QR code to join </a:t>
            </a:r>
          </a:p>
        </p:txBody>
      </p:sp>
    </p:spTree>
    <p:extLst>
      <p:ext uri="{BB962C8B-B14F-4D97-AF65-F5344CB8AC3E}">
        <p14:creationId xmlns:p14="http://schemas.microsoft.com/office/powerpoint/2010/main" val="39819926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A18533-6298-7827-95CD-8F1630622F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E5BF778-68E5-78BC-E837-16699E6BC1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F142BA-B7EC-909B-CFEE-BBDD4805C953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47451A6-60FC-67C5-BE79-C5114512552A}"/>
              </a:ext>
            </a:extLst>
          </p:cNvPr>
          <p:cNvSpPr txBox="1"/>
          <p:nvPr/>
        </p:nvSpPr>
        <p:spPr>
          <a:xfrm>
            <a:off x="355600" y="463547"/>
            <a:ext cx="582723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/>
              <a:t>What technology do we use?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6B42D9D-0A02-F13F-903D-B933FFC46DD8}"/>
              </a:ext>
            </a:extLst>
          </p:cNvPr>
          <p:cNvGrpSpPr/>
          <p:nvPr/>
        </p:nvGrpSpPr>
        <p:grpSpPr>
          <a:xfrm>
            <a:off x="412754" y="1337437"/>
            <a:ext cx="2655847" cy="2071944"/>
            <a:chOff x="6096000" y="381000"/>
            <a:chExt cx="6096000" cy="6096000"/>
          </a:xfrm>
        </p:grpSpPr>
        <p:pic>
          <p:nvPicPr>
            <p:cNvPr id="7" name="Picture 2" descr="Download Microsoft Excel 2024 for Mac | GetMsOffice">
              <a:extLst>
                <a:ext uri="{FF2B5EF4-FFF2-40B4-BE49-F238E27FC236}">
                  <a16:creationId xmlns:a16="http://schemas.microsoft.com/office/drawing/2014/main" id="{112360BB-0C47-8DDF-650E-A656689A4C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96000" y="381000"/>
              <a:ext cx="6096000" cy="6096000"/>
            </a:xfrm>
            <a:prstGeom prst="rect">
              <a:avLst/>
            </a:prstGeom>
            <a:solidFill>
              <a:srgbClr val="FFFFFF"/>
            </a:solidFill>
          </p:spPr>
        </p:pic>
        <p:pic>
          <p:nvPicPr>
            <p:cNvPr id="8" name="Picture 7" descr="Download Microsoft Excel 2024 for Mac | GetMsOffice">
              <a:extLst>
                <a:ext uri="{FF2B5EF4-FFF2-40B4-BE49-F238E27FC236}">
                  <a16:creationId xmlns:a16="http://schemas.microsoft.com/office/drawing/2014/main" id="{92701630-AB45-E078-D397-D03D0FC27E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841" t="74608" r="19862" b="6882"/>
            <a:stretch/>
          </p:blipFill>
          <p:spPr bwMode="auto">
            <a:xfrm>
              <a:off x="10651253" y="4850076"/>
              <a:ext cx="1115368" cy="1128371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F585FA03-FA39-A89D-31C2-615FD477B98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522" r="14644"/>
          <a:stretch/>
        </p:blipFill>
        <p:spPr>
          <a:xfrm>
            <a:off x="8970925" y="2031345"/>
            <a:ext cx="2694733" cy="2033651"/>
          </a:xfrm>
          <a:prstGeom prst="rect">
            <a:avLst/>
          </a:prstGeom>
        </p:spPr>
      </p:pic>
      <p:pic>
        <p:nvPicPr>
          <p:cNvPr id="2050" name="Picture 2" descr="Python Programming Language Wallpaper">
            <a:extLst>
              <a:ext uri="{FF2B5EF4-FFF2-40B4-BE49-F238E27FC236}">
                <a16:creationId xmlns:a16="http://schemas.microsoft.com/office/drawing/2014/main" id="{3D0122E0-8B93-ED2A-2830-8BC6240CC2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0925" y="4760416"/>
            <a:ext cx="2882372" cy="1621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Ready to Analyze">
            <a:extLst>
              <a:ext uri="{FF2B5EF4-FFF2-40B4-BE49-F238E27FC236}">
                <a16:creationId xmlns:a16="http://schemas.microsoft.com/office/drawing/2014/main" id="{26948662-CFE9-52B5-ABB2-35BE8CC588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840" y="1141082"/>
            <a:ext cx="2958449" cy="2296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ABFB1BB-6EA5-90E0-DCD1-9ECD3185EAAE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6108" b="22725"/>
          <a:stretch/>
        </p:blipFill>
        <p:spPr>
          <a:xfrm>
            <a:off x="124483" y="5548454"/>
            <a:ext cx="3949002" cy="1060164"/>
          </a:xfrm>
          <a:prstGeom prst="rect">
            <a:avLst/>
          </a:prstGeom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8C5067FC-7CF9-EA71-B64A-9E8D9DB5C5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240" y="3116555"/>
            <a:ext cx="4010422" cy="222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Welcome To Colab - Colab">
            <a:extLst>
              <a:ext uri="{FF2B5EF4-FFF2-40B4-BE49-F238E27FC236}">
                <a16:creationId xmlns:a16="http://schemas.microsoft.com/office/drawing/2014/main" id="{28D14CA6-2486-997B-6399-32D0864BA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0421" y="1161479"/>
            <a:ext cx="2133600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osit Cloud">
            <a:extLst>
              <a:ext uri="{FF2B5EF4-FFF2-40B4-BE49-F238E27FC236}">
                <a16:creationId xmlns:a16="http://schemas.microsoft.com/office/drawing/2014/main" id="{FAF9B8A7-E4EF-B939-7807-B9E615D693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166" y="5492066"/>
            <a:ext cx="4210050" cy="108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9D1EC6A-B7B8-9898-3728-6E0F994F367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4601" y="3466494"/>
            <a:ext cx="2465376" cy="2104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8650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9C9262-B5D0-8368-107B-160F6A73FF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F723005-760B-298B-8C29-5C49D67A8B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8CB4F6-A74F-8922-0D55-A509E24CA315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75F3CAF-E3DA-4BE0-3C2A-C8C34EA550B7}"/>
              </a:ext>
            </a:extLst>
          </p:cNvPr>
          <p:cNvSpPr txBox="1"/>
          <p:nvPr/>
        </p:nvSpPr>
        <p:spPr>
          <a:xfrm>
            <a:off x="355600" y="463547"/>
            <a:ext cx="39036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Career challeng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59F187B-9166-0A35-B960-887D634D7B7D}"/>
              </a:ext>
            </a:extLst>
          </p:cNvPr>
          <p:cNvSpPr txBox="1"/>
          <p:nvPr/>
        </p:nvSpPr>
        <p:spPr>
          <a:xfrm>
            <a:off x="678094" y="1469209"/>
            <a:ext cx="11322122" cy="40603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ning data into insight: Building awareness of mental health prescribing</a:t>
            </a:r>
            <a:endParaRPr lang="en-GB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NHS is experiencing an unprecedented surge in demand for mental health services. Long waiting times, particularly for young people are placing a strain on patients and providers alike. In parallel, the use of prescription medications, especially for managing anxiety and depression, has seen a marked increase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is challenge offer students the opportunity to delve into datasets reflecting drug usage trends to build awareness and inform decision making using NHS data to improve patient car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ta Analysis– </a:t>
            </a:r>
            <a:r>
              <a:rPr lang="en-GB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igned for students who are starting their data literacy journey</a:t>
            </a: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en-GB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plore data on the prescription rates of common mental health medications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ta reporting – </a:t>
            </a:r>
            <a:r>
              <a:rPr lang="en-GB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igned for students who would like to further develop their programming skills</a:t>
            </a: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en-GB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ou are a public health officer and want to better understand antidepressant prescribing trends over time. </a:t>
            </a: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en-GB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31338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E8B557-22D8-7A03-74E9-C5D59DF6E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02AB9C-DD5A-6928-7A1C-0D18CA29AD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D2D18E-4B9E-64FB-F696-906BF0BD2C24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9FCE5B2-8C89-5186-4096-1D65C6C9B5CA}"/>
              </a:ext>
            </a:extLst>
          </p:cNvPr>
          <p:cNvSpPr txBox="1"/>
          <p:nvPr/>
        </p:nvSpPr>
        <p:spPr>
          <a:xfrm>
            <a:off x="355600" y="463547"/>
            <a:ext cx="100420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Challenge A: using excel to analyse the data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D12EB7-A581-CC32-AC22-8B9250941CE2}"/>
              </a:ext>
            </a:extLst>
          </p:cNvPr>
          <p:cNvSpPr txBox="1"/>
          <p:nvPr/>
        </p:nvSpPr>
        <p:spPr>
          <a:xfrm>
            <a:off x="428625" y="1424136"/>
            <a:ext cx="1149669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/>
              <a:t>Transforming and Aggregating Data</a:t>
            </a:r>
          </a:p>
          <a:p>
            <a:endParaRPr lang="en-GB" sz="1600" b="1" dirty="0"/>
          </a:p>
          <a:p>
            <a:r>
              <a:rPr lang="en-GB" sz="1600" dirty="0"/>
              <a:t>Question 1: Nationally, calculate the top 10 prescribed anti-depressants sorted from biggest from smallest. </a:t>
            </a:r>
            <a:br>
              <a:rPr lang="en-GB" sz="1600" dirty="0"/>
            </a:br>
            <a:endParaRPr lang="en-GB" sz="1600" dirty="0"/>
          </a:p>
          <a:p>
            <a:r>
              <a:rPr lang="en-GB" sz="1600" dirty="0"/>
              <a:t>Question 2: Calculate the national cost of Mirtazapine prescribing </a:t>
            </a:r>
            <a:br>
              <a:rPr lang="en-GB" sz="1600" dirty="0"/>
            </a:br>
            <a:endParaRPr lang="en-GB" sz="1600" dirty="0"/>
          </a:p>
          <a:p>
            <a:r>
              <a:rPr lang="en-GB" sz="1600" dirty="0"/>
              <a:t>Question 3: What is the spend of Sertraline hydrochloride prescribing in the Midlands region? </a:t>
            </a:r>
            <a:br>
              <a:rPr lang="en-GB" sz="1600" dirty="0"/>
            </a:br>
            <a:endParaRPr lang="en-GB" sz="1600" dirty="0"/>
          </a:p>
          <a:p>
            <a:r>
              <a:rPr lang="en-GB" sz="1600" dirty="0"/>
              <a:t>Question 4: How many anti-depressant items were prescribed nationally?</a:t>
            </a:r>
          </a:p>
          <a:p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633238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499A9-ADAE-F54A-B49E-F294E7BCE9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2000" y="1002268"/>
            <a:ext cx="10569676" cy="2507695"/>
          </a:xfrm>
        </p:spPr>
        <p:txBody>
          <a:bodyPr/>
          <a:lstStyle/>
          <a:p>
            <a:r>
              <a:rPr lang="en-GB" sz="5000" dirty="0" err="1"/>
              <a:t>Digdata</a:t>
            </a:r>
            <a:r>
              <a:rPr lang="en-GB" sz="5000" dirty="0"/>
              <a:t> – Step Up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B96998-8BA0-CF4D-B57F-DEBCAD1141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2000" y="3600000"/>
            <a:ext cx="4929709" cy="2507695"/>
          </a:xfrm>
        </p:spPr>
        <p:txBody>
          <a:bodyPr>
            <a:normAutofit fontScale="92500" lnSpcReduction="20000"/>
          </a:bodyPr>
          <a:lstStyle/>
          <a:p>
            <a:r>
              <a:rPr lang="en-GB" b="1" dirty="0"/>
              <a:t>NHS Online Live Career Challenge</a:t>
            </a:r>
          </a:p>
          <a:p>
            <a:r>
              <a:rPr lang="en-GB" b="1" dirty="0"/>
              <a:t>4</a:t>
            </a:r>
            <a:r>
              <a:rPr lang="en-GB" b="1" baseline="30000" dirty="0"/>
              <a:t>th</a:t>
            </a:r>
            <a:r>
              <a:rPr lang="en-GB" b="1" dirty="0"/>
              <a:t> March 2025</a:t>
            </a:r>
          </a:p>
          <a:p>
            <a:endParaRPr lang="en-GB" b="1" dirty="0"/>
          </a:p>
          <a:p>
            <a:r>
              <a:rPr lang="en-GB" b="1" dirty="0"/>
              <a:t>Turning data into insight: Building awareness of mental health prescribing</a:t>
            </a:r>
          </a:p>
        </p:txBody>
      </p:sp>
    </p:spTree>
    <p:extLst>
      <p:ext uri="{BB962C8B-B14F-4D97-AF65-F5344CB8AC3E}">
        <p14:creationId xmlns:p14="http://schemas.microsoft.com/office/powerpoint/2010/main" val="383023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E8B557-22D8-7A03-74E9-C5D59DF6E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02AB9C-DD5A-6928-7A1C-0D18CA29AD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D2D18E-4B9E-64FB-F696-906BF0BD2C24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9FCE5B2-8C89-5186-4096-1D65C6C9B5CA}"/>
              </a:ext>
            </a:extLst>
          </p:cNvPr>
          <p:cNvSpPr txBox="1"/>
          <p:nvPr/>
        </p:nvSpPr>
        <p:spPr>
          <a:xfrm>
            <a:off x="355600" y="463547"/>
            <a:ext cx="102985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Challenge A: using excel to visualise the data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D12EB7-A581-CC32-AC22-8B9250941CE2}"/>
              </a:ext>
            </a:extLst>
          </p:cNvPr>
          <p:cNvSpPr txBox="1"/>
          <p:nvPr/>
        </p:nvSpPr>
        <p:spPr>
          <a:xfrm>
            <a:off x="428625" y="1424136"/>
            <a:ext cx="1149669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/>
              <a:t>Visualising Data</a:t>
            </a:r>
            <a:br>
              <a:rPr lang="en-GB" sz="1600" dirty="0"/>
            </a:br>
            <a:endParaRPr lang="en-GB" sz="1600" dirty="0"/>
          </a:p>
          <a:p>
            <a:r>
              <a:rPr lang="en-GB" sz="1600" dirty="0"/>
              <a:t>Question 1: Create a horizontal bar chart of the top 5 most prescribed drugs in December 2024, arranged in order. </a:t>
            </a:r>
          </a:p>
          <a:p>
            <a:br>
              <a:rPr lang="en-GB" sz="1600" dirty="0"/>
            </a:br>
            <a:r>
              <a:rPr lang="en-GB" sz="1600" dirty="0"/>
              <a:t>Question 2: Create a vertical bar chart showing the total cost of sertraline hydrochloride prescribing in the North East region.</a:t>
            </a:r>
          </a:p>
          <a:p>
            <a:endParaRPr lang="en-GB" sz="1600" dirty="0"/>
          </a:p>
          <a:p>
            <a:r>
              <a:rPr lang="en-GB" sz="1600" dirty="0"/>
              <a:t>Question 3: Create two vertical bar charts for comparison. First, create a bar chart showing the total antidepressant prescribing (items). Second, create a bar chart that shows the total antidepressant prescribing cost. </a:t>
            </a:r>
          </a:p>
          <a:p>
            <a:endParaRPr lang="en-GB" sz="1600" dirty="0"/>
          </a:p>
          <a:p>
            <a:r>
              <a:rPr lang="en-GB" sz="1600" dirty="0"/>
              <a:t>Question 4: Create an ordered bar chart showing the 10 most prescribed antidepressants (items). Second, create an ordered bar chart that shows antidepressants with the greatest total prescribing cost. </a:t>
            </a:r>
          </a:p>
          <a:p>
            <a:endParaRPr lang="en-GB" sz="1600" dirty="0"/>
          </a:p>
          <a:p>
            <a:r>
              <a:rPr lang="en-GB" sz="1600" dirty="0"/>
              <a:t> </a:t>
            </a:r>
          </a:p>
          <a:p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34955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E8B557-22D8-7A03-74E9-C5D59DF6E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02AB9C-DD5A-6928-7A1C-0D18CA29AD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D2D18E-4B9E-64FB-F696-906BF0BD2C24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9FCE5B2-8C89-5186-4096-1D65C6C9B5CA}"/>
              </a:ext>
            </a:extLst>
          </p:cNvPr>
          <p:cNvSpPr txBox="1"/>
          <p:nvPr/>
        </p:nvSpPr>
        <p:spPr>
          <a:xfrm>
            <a:off x="355600" y="463547"/>
            <a:ext cx="86570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Challenge A: presenting your finding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D12EB7-A581-CC32-AC22-8B9250941CE2}"/>
              </a:ext>
            </a:extLst>
          </p:cNvPr>
          <p:cNvSpPr txBox="1"/>
          <p:nvPr/>
        </p:nvSpPr>
        <p:spPr>
          <a:xfrm>
            <a:off x="428625" y="1424136"/>
            <a:ext cx="1149669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/>
              <a:t>Data Metrics and Insight</a:t>
            </a:r>
          </a:p>
          <a:p>
            <a:endParaRPr lang="en-GB" sz="1600" dirty="0"/>
          </a:p>
          <a:p>
            <a:r>
              <a:rPr lang="en-GB" sz="1600" dirty="0"/>
              <a:t>Create a PowerPoint presentation that describes the analysis  </a:t>
            </a:r>
          </a:p>
          <a:p>
            <a:br>
              <a:rPr lang="en-GB" sz="1600" dirty="0"/>
            </a:br>
            <a:r>
              <a:rPr lang="en-GB" sz="1600" dirty="0"/>
              <a:t>Describe the trend of each chart and compare the charts against each other</a:t>
            </a:r>
          </a:p>
          <a:p>
            <a:br>
              <a:rPr lang="en-GB" sz="1600" dirty="0"/>
            </a:br>
            <a:r>
              <a:rPr lang="en-GB" sz="1600" dirty="0"/>
              <a:t>Create two pivot tables for comparison. First, create a pivot table showing the total antidepressant prescribing per region. Second, create a pivot table showing the antidepressant prescribing cost per region. </a:t>
            </a:r>
          </a:p>
          <a:p>
            <a:br>
              <a:rPr lang="en-GB" sz="1600" dirty="0"/>
            </a:br>
            <a:r>
              <a:rPr lang="en-GB" sz="1600" b="1" dirty="0"/>
              <a:t>Describe some regional variation and contrasts.</a:t>
            </a:r>
          </a:p>
          <a:p>
            <a:br>
              <a:rPr lang="en-GB" sz="1600" dirty="0"/>
            </a:br>
            <a:r>
              <a:rPr lang="en-GB" sz="1600" dirty="0"/>
              <a:t>By now you may have noticed there are contrasts between antidepressant prescribing volumes and costs. </a:t>
            </a:r>
          </a:p>
          <a:p>
            <a:br>
              <a:rPr lang="en-GB" sz="1600" dirty="0"/>
            </a:br>
            <a:r>
              <a:rPr lang="en-GB" sz="1600" dirty="0"/>
              <a:t>Highlight and describe any differences between the charts.</a:t>
            </a:r>
          </a:p>
        </p:txBody>
      </p:sp>
    </p:spTree>
    <p:extLst>
      <p:ext uri="{BB962C8B-B14F-4D97-AF65-F5344CB8AC3E}">
        <p14:creationId xmlns:p14="http://schemas.microsoft.com/office/powerpoint/2010/main" val="377580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E8B557-22D8-7A03-74E9-C5D59DF6E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02AB9C-DD5A-6928-7A1C-0D18CA29AD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D2D18E-4B9E-64FB-F696-906BF0BD2C24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9FCE5B2-8C89-5186-4096-1D65C6C9B5CA}"/>
              </a:ext>
            </a:extLst>
          </p:cNvPr>
          <p:cNvSpPr txBox="1"/>
          <p:nvPr/>
        </p:nvSpPr>
        <p:spPr>
          <a:xfrm>
            <a:off x="355600" y="463547"/>
            <a:ext cx="92384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Challenge B: using R to analyse the data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DD81053-AA24-4449-9300-00F748FC4479}"/>
              </a:ext>
            </a:extLst>
          </p:cNvPr>
          <p:cNvSpPr txBox="1"/>
          <p:nvPr/>
        </p:nvSpPr>
        <p:spPr>
          <a:xfrm>
            <a:off x="457200" y="1361207"/>
            <a:ext cx="11803231" cy="48013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Analysing your data </a:t>
            </a:r>
          </a:p>
          <a:p>
            <a:pPr marL="342900" indent="-342900">
              <a:buAutoNum type="arabicPeriod"/>
            </a:pPr>
            <a:endParaRPr lang="en-GB" dirty="0"/>
          </a:p>
          <a:p>
            <a:pPr marL="342900" indent="-342900">
              <a:buAutoNum type="arabicPeriod"/>
            </a:pPr>
            <a:r>
              <a:rPr lang="en-GB" dirty="0"/>
              <a:t>You will have four questions on transforming and aggregating data </a:t>
            </a:r>
          </a:p>
          <a:p>
            <a:pPr marL="342900" indent="-342900">
              <a:buAutoNum type="arabicPeriod"/>
            </a:pPr>
            <a:r>
              <a:rPr lang="en-GB" dirty="0"/>
              <a:t>You will have three questions on visualising data </a:t>
            </a:r>
          </a:p>
          <a:p>
            <a:pPr marL="342900" indent="-342900">
              <a:buAutoNum type="arabicPeriod"/>
            </a:pPr>
            <a:r>
              <a:rPr lang="en-GB" dirty="0"/>
              <a:t>You will have five questions on generating data metrics and insight</a:t>
            </a:r>
          </a:p>
          <a:p>
            <a:endParaRPr lang="en-GB" b="1" dirty="0"/>
          </a:p>
          <a:p>
            <a:r>
              <a:rPr lang="en-GB" dirty="0"/>
              <a:t>GitHub location: </a:t>
            </a:r>
            <a:r>
              <a:rPr lang="en-GB" dirty="0">
                <a:hlinkClick r:id="rId4"/>
              </a:rPr>
              <a:t>GitHub - </a:t>
            </a:r>
            <a:r>
              <a:rPr lang="en-GB" dirty="0" err="1">
                <a:hlinkClick r:id="rId4"/>
              </a:rPr>
              <a:t>nhsbsa</a:t>
            </a:r>
            <a:r>
              <a:rPr lang="en-GB" dirty="0">
                <a:hlinkClick r:id="rId4"/>
              </a:rPr>
              <a:t>-data-analytics/dig-data-step-up: Content for Dig Data Step Up Career Challenge</a:t>
            </a:r>
            <a:endParaRPr lang="en-GB" dirty="0"/>
          </a:p>
          <a:p>
            <a:r>
              <a:rPr lang="en-GB" i="1" dirty="0"/>
              <a:t>Please refer to the Answers section in the GitHub to self-assess your progress </a:t>
            </a:r>
          </a:p>
          <a:p>
            <a:pPr marL="342900" indent="-342900">
              <a:buAutoNum type="arabicPeriod"/>
            </a:pPr>
            <a:endParaRPr lang="en-GB" dirty="0"/>
          </a:p>
          <a:p>
            <a:r>
              <a:rPr lang="en-GB" b="1" dirty="0"/>
              <a:t>Presenting your findings </a:t>
            </a:r>
          </a:p>
          <a:p>
            <a:endParaRPr lang="en-GB" dirty="0"/>
          </a:p>
          <a:p>
            <a:pPr marL="342900" indent="-342900">
              <a:buAutoNum type="arabicPeriod"/>
            </a:pPr>
            <a:r>
              <a:rPr lang="en-GB" dirty="0"/>
              <a:t>Longitudinal analysis into anti-depressant prescribing  </a:t>
            </a:r>
          </a:p>
          <a:p>
            <a:pPr marL="342900" indent="-342900">
              <a:buAutoNum type="arabicPeriod"/>
            </a:pPr>
            <a:r>
              <a:rPr lang="en-GB" dirty="0"/>
              <a:t>Extension work: anti-depressant case studies </a:t>
            </a:r>
          </a:p>
          <a:p>
            <a:endParaRPr lang="en-GB" dirty="0"/>
          </a:p>
          <a:p>
            <a:r>
              <a:rPr lang="en-GB" b="1" dirty="0"/>
              <a:t>Report submission </a:t>
            </a:r>
          </a:p>
          <a:p>
            <a:endParaRPr lang="en-GB" b="1" dirty="0"/>
          </a:p>
          <a:p>
            <a:r>
              <a:rPr lang="en-GB" dirty="0"/>
              <a:t>1. Send HTML file to </a:t>
            </a:r>
            <a:r>
              <a:rPr lang="en-GB" dirty="0" err="1">
                <a:hlinkClick r:id="rId5"/>
              </a:rPr>
              <a:t>Info@digdata.online</a:t>
            </a: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74229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E8B557-22D8-7A03-74E9-C5D59DF6E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02AB9C-DD5A-6928-7A1C-0D18CA29AD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D2D18E-4B9E-64FB-F696-906BF0BD2C24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9FCE5B2-8C89-5186-4096-1D65C6C9B5CA}"/>
              </a:ext>
            </a:extLst>
          </p:cNvPr>
          <p:cNvSpPr txBox="1"/>
          <p:nvPr/>
        </p:nvSpPr>
        <p:spPr>
          <a:xfrm>
            <a:off x="355600" y="463547"/>
            <a:ext cx="104695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Challenge C: using Python to analyse the data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91DD13-C8C5-AF3A-9F40-C460D988AB37}"/>
              </a:ext>
            </a:extLst>
          </p:cNvPr>
          <p:cNvSpPr txBox="1"/>
          <p:nvPr/>
        </p:nvSpPr>
        <p:spPr>
          <a:xfrm>
            <a:off x="490971" y="3924882"/>
            <a:ext cx="60942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667A6E-9277-C42C-7F74-B36592611096}"/>
              </a:ext>
            </a:extLst>
          </p:cNvPr>
          <p:cNvSpPr txBox="1"/>
          <p:nvPr/>
        </p:nvSpPr>
        <p:spPr>
          <a:xfrm>
            <a:off x="457200" y="1361207"/>
            <a:ext cx="1046953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Analysing your data </a:t>
            </a:r>
          </a:p>
          <a:p>
            <a:pPr marL="342900" indent="-342900">
              <a:buAutoNum type="arabicPeriod"/>
            </a:pPr>
            <a:endParaRPr lang="en-GB" dirty="0"/>
          </a:p>
          <a:p>
            <a:pPr marL="342900" indent="-342900">
              <a:buAutoNum type="arabicPeriod"/>
            </a:pPr>
            <a:r>
              <a:rPr lang="en-GB" dirty="0"/>
              <a:t>You will have three questions on transforming and aggregating data </a:t>
            </a:r>
          </a:p>
          <a:p>
            <a:pPr marL="342900" indent="-342900">
              <a:buAutoNum type="arabicPeriod"/>
            </a:pPr>
            <a:r>
              <a:rPr lang="en-GB" dirty="0"/>
              <a:t>You will have three questions on visualising data </a:t>
            </a:r>
          </a:p>
          <a:p>
            <a:pPr marL="342900" indent="-342900">
              <a:buAutoNum type="arabicPeriod"/>
            </a:pPr>
            <a:r>
              <a:rPr lang="en-GB" dirty="0"/>
              <a:t>You will have six questions on generating data metrics and insight</a:t>
            </a:r>
          </a:p>
          <a:p>
            <a:endParaRPr lang="en-GB" b="1" dirty="0"/>
          </a:p>
          <a:p>
            <a:r>
              <a:rPr lang="en-GB" b="1" dirty="0"/>
              <a:t>You will receive a how to guide on how to access the data for Python </a:t>
            </a:r>
          </a:p>
          <a:p>
            <a:endParaRPr lang="en-GB" dirty="0"/>
          </a:p>
          <a:p>
            <a:r>
              <a:rPr lang="en-GB" b="1" dirty="0"/>
              <a:t>Presenting your findings </a:t>
            </a:r>
          </a:p>
          <a:p>
            <a:endParaRPr lang="en-GB" dirty="0"/>
          </a:p>
          <a:p>
            <a:pPr marL="342900" indent="-342900">
              <a:buAutoNum type="arabicPeriod"/>
            </a:pPr>
            <a:r>
              <a:rPr lang="en-GB" dirty="0"/>
              <a:t>Longitudinal analysis into anti-depressant prescribing  </a:t>
            </a:r>
          </a:p>
          <a:p>
            <a:pPr marL="342900" indent="-342900">
              <a:buAutoNum type="arabicPeriod"/>
            </a:pPr>
            <a:r>
              <a:rPr lang="en-GB" dirty="0"/>
              <a:t>Extension work: anti-depressant case studies </a:t>
            </a:r>
          </a:p>
          <a:p>
            <a:endParaRPr lang="en-GB" dirty="0"/>
          </a:p>
          <a:p>
            <a:r>
              <a:rPr lang="en-GB" b="1" dirty="0"/>
              <a:t>Report submission </a:t>
            </a:r>
          </a:p>
          <a:p>
            <a:endParaRPr lang="en-GB" b="1" dirty="0"/>
          </a:p>
          <a:p>
            <a:r>
              <a:rPr lang="en-GB" dirty="0"/>
              <a:t>1. Send the IPYNB file to </a:t>
            </a:r>
            <a:r>
              <a:rPr lang="en-GB" dirty="0" err="1">
                <a:hlinkClick r:id="rId4"/>
              </a:rPr>
              <a:t>Info@digdata.online</a:t>
            </a: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106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1ED95-A886-9AEF-5676-E5093F446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174B5D-1058-B733-7E95-BD30E400DF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6B47F03-2ECA-E606-0AEC-818173295323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1F9948D8-A7EF-7EBD-9A6C-BF10444FED13}"/>
              </a:ext>
            </a:extLst>
          </p:cNvPr>
          <p:cNvSpPr txBox="1"/>
          <p:nvPr/>
        </p:nvSpPr>
        <p:spPr>
          <a:xfrm>
            <a:off x="355600" y="463547"/>
            <a:ext cx="35189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Data Challeng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F73E835-3507-4028-85AC-FFC8E36A4587}"/>
              </a:ext>
            </a:extLst>
          </p:cNvPr>
          <p:cNvSpPr txBox="1"/>
          <p:nvPr/>
        </p:nvSpPr>
        <p:spPr>
          <a:xfrm>
            <a:off x="1927504" y="2964153"/>
            <a:ext cx="751959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6600" b="1" dirty="0"/>
              <a:t>Any questions?</a:t>
            </a:r>
          </a:p>
        </p:txBody>
      </p:sp>
      <p:pic>
        <p:nvPicPr>
          <p:cNvPr id="2" name="Picture 1" descr="A cartoon of a person with a question mark&#10;&#10;Description automatically generated">
            <a:extLst>
              <a:ext uri="{FF2B5EF4-FFF2-40B4-BE49-F238E27FC236}">
                <a16:creationId xmlns:a16="http://schemas.microsoft.com/office/drawing/2014/main" id="{E7745242-BD3B-E5C4-B35C-EF416233F9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9888" y="4072149"/>
            <a:ext cx="2269113" cy="264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5000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41F81-15A7-F837-AE01-4037006E97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8DEC28-AA8C-05CE-5CDB-C571945AA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616A066-80BD-3600-227E-1D6C94955C8E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57657205-D57E-AF48-64B9-E3F1B098716A}"/>
              </a:ext>
            </a:extLst>
          </p:cNvPr>
          <p:cNvSpPr txBox="1"/>
          <p:nvPr/>
        </p:nvSpPr>
        <p:spPr>
          <a:xfrm>
            <a:off x="355600" y="463547"/>
            <a:ext cx="35189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/>
              <a:t>Data Challeng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52D1F1-94A4-FA98-B52B-CDFAF49EAA0B}"/>
              </a:ext>
            </a:extLst>
          </p:cNvPr>
          <p:cNvSpPr txBox="1"/>
          <p:nvPr/>
        </p:nvSpPr>
        <p:spPr>
          <a:xfrm>
            <a:off x="3093295" y="2089947"/>
            <a:ext cx="6094324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6600" b="1" dirty="0"/>
              <a:t>THANK YOU</a:t>
            </a:r>
          </a:p>
          <a:p>
            <a:pPr algn="ctr"/>
            <a:endParaRPr lang="en-GB" sz="2000" b="1" dirty="0"/>
          </a:p>
          <a:p>
            <a:pPr algn="ctr"/>
            <a:r>
              <a:rPr lang="en-GB" sz="6600" b="1" dirty="0"/>
              <a:t>AND</a:t>
            </a:r>
          </a:p>
          <a:p>
            <a:pPr algn="ctr"/>
            <a:endParaRPr lang="en-GB" sz="2000" b="1" dirty="0"/>
          </a:p>
          <a:p>
            <a:pPr algn="ctr"/>
            <a:r>
              <a:rPr lang="en-GB" sz="6600" b="1" dirty="0"/>
              <a:t>GOOD LUCK</a:t>
            </a:r>
          </a:p>
        </p:txBody>
      </p:sp>
    </p:spTree>
    <p:extLst>
      <p:ext uri="{BB962C8B-B14F-4D97-AF65-F5344CB8AC3E}">
        <p14:creationId xmlns:p14="http://schemas.microsoft.com/office/powerpoint/2010/main" val="4052423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A2B49B7-8D32-2249-A117-A66209EFB099}"/>
              </a:ext>
            </a:extLst>
          </p:cNvPr>
          <p:cNvSpPr txBox="1"/>
          <p:nvPr/>
        </p:nvSpPr>
        <p:spPr>
          <a:xfrm>
            <a:off x="376457" y="1887119"/>
            <a:ext cx="11274531" cy="40010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27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igdata will send you an email containing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61950" marR="0" lvl="0" indent="-36195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91C1C"/>
              </a:buClr>
              <a:buSzPts val="1800"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YouTube link - recording of this session.</a:t>
            </a:r>
          </a:p>
          <a:p>
            <a:pPr marL="361950" marR="0" lvl="0" indent="-36195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91C1C"/>
              </a:buClr>
              <a:buSzPts val="1800"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WeTransfer link containing files to download:</a:t>
            </a:r>
          </a:p>
          <a:p>
            <a:pPr marL="819150" lvl="1" indent="-361950" defTabSz="1371600">
              <a:buClr>
                <a:srgbClr val="F91C1C"/>
              </a:buClr>
              <a:buSzPts val="1800"/>
              <a:buFont typeface="Arial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hallenge A – dataset, How to Guide, Excel cheat sheet, PPT presenta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  <a:p>
            <a:pPr marL="819150" lvl="1" indent="-361950" defTabSz="1371600">
              <a:buClr>
                <a:srgbClr val="F91C1C"/>
              </a:buClr>
              <a:buSzPts val="1800"/>
              <a:buFont typeface="Arial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Challenge B – How to Guide, 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Github</a:t>
            </a: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PPT presenta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  <a:p>
            <a:pPr marL="819150" lvl="1" indent="-361950" defTabSz="1371600">
              <a:buClr>
                <a:srgbClr val="F91C1C"/>
              </a:buClr>
              <a:buSzPts val="1800"/>
              <a:buFont typeface="Arial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hallenge C 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How to Guide, Pytho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Github</a:t>
            </a: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, Google </a:t>
            </a:r>
            <a:r>
              <a:rPr lang="en-US" sz="1600" dirty="0" err="1">
                <a:latin typeface="Calibri"/>
                <a:ea typeface="Calibri"/>
                <a:cs typeface="Calibri"/>
                <a:sym typeface="Calibri"/>
              </a:rPr>
              <a:t>Colab</a:t>
            </a: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 Introduction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PPT presenta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  <a:p>
            <a:pPr marL="361950" marR="0" lvl="0" indent="-36195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91C1C"/>
              </a:buClr>
              <a:buSzPts val="1800"/>
              <a:buFont typeface="Arial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Check junk / SPAM folders - make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achel@digdata.onlin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@digdata.onlin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n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digdata.onlin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rusted contacts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264795" marR="0" lvl="0" indent="-264795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003CFF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marL="361950" marR="0" lvl="0" indent="-361950" algn="l" defTabSz="304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91C1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1950" marR="0" lvl="0" indent="-3619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91C1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r Mission: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Use the resources above to complete your chosen Challenge (A, B or C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361950" marR="0" lvl="0" indent="-3619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91C1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ll us your recommendation: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  <a:r>
              <a:rPr lang="en-GB" sz="1600" dirty="0">
                <a:solidFill>
                  <a:prstClr val="black"/>
                </a:solidFill>
                <a:latin typeface="Calibri" panose="020F0502020204030204"/>
              </a:rPr>
              <a:t>Use the PPT presentation and follow up email for </a:t>
            </a:r>
            <a:r>
              <a:rPr lang="en-GB" sz="1600">
                <a:solidFill>
                  <a:prstClr val="black"/>
                </a:solidFill>
                <a:latin typeface="Calibri" panose="020F0502020204030204"/>
              </a:rPr>
              <a:t>guidance on recommendation </a:t>
            </a:r>
            <a:r>
              <a:rPr lang="en-GB" sz="1600" dirty="0">
                <a:solidFill>
                  <a:prstClr val="black"/>
                </a:solidFill>
                <a:latin typeface="Calibri" panose="020F0502020204030204"/>
              </a:rPr>
              <a:t>requirements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B200"/>
              </a:buClr>
              <a:buSzTx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</a:p>
          <a:p>
            <a:pPr marL="3810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FF"/>
              </a:buClr>
              <a:buSzPts val="1800"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810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FF"/>
              </a:buClr>
              <a:buSzPts val="18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8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March at 6.00 p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– please send your work to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digdata.onlin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ating your full name, university year group, and university name and you will receive your virtual work experience certificate within 1 month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F3EC203-C6E2-9646-B68F-E6738FCF4B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4969" y="627813"/>
            <a:ext cx="6312817" cy="597408"/>
          </a:xfrm>
        </p:spPr>
        <p:txBody>
          <a:bodyPr>
            <a:noAutofit/>
          </a:bodyPr>
          <a:lstStyle/>
          <a:p>
            <a:pPr algn="l" fontAlgn="base">
              <a:lnSpc>
                <a:spcPct val="100000"/>
              </a:lnSpc>
            </a:pPr>
            <a:r>
              <a:rPr lang="en-GB" sz="2900" b="1" dirty="0">
                <a:solidFill>
                  <a:srgbClr val="FF0000"/>
                </a:solidFill>
                <a:latin typeface="+mn-lt"/>
                <a:ea typeface="Roboto Condensed"/>
              </a:rPr>
              <a:t>“Step Up” – NHS live online career challenge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B2818D3B-E8DB-4219-169E-DDA53D312531}"/>
              </a:ext>
            </a:extLst>
          </p:cNvPr>
          <p:cNvSpPr/>
          <p:nvPr/>
        </p:nvSpPr>
        <p:spPr>
          <a:xfrm>
            <a:off x="414556" y="1458651"/>
            <a:ext cx="11274531" cy="57694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What happens now?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EE2E8F24-A068-EA25-A4FA-B53E7249CFDE}"/>
              </a:ext>
            </a:extLst>
          </p:cNvPr>
          <p:cNvSpPr/>
          <p:nvPr/>
        </p:nvSpPr>
        <p:spPr>
          <a:xfrm>
            <a:off x="404396" y="3861949"/>
            <a:ext cx="11274531" cy="57694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Completing the career challenge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86D42B9A-158D-1DF5-595B-F86278D660EA}"/>
              </a:ext>
            </a:extLst>
          </p:cNvPr>
          <p:cNvSpPr/>
          <p:nvPr/>
        </p:nvSpPr>
        <p:spPr>
          <a:xfrm>
            <a:off x="404396" y="4821633"/>
            <a:ext cx="11274531" cy="57694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 Challenge submittal deadline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8640A9-07CA-83B2-A75C-3EC4A7AEE02B}"/>
              </a:ext>
            </a:extLst>
          </p:cNvPr>
          <p:cNvSpPr/>
          <p:nvPr/>
        </p:nvSpPr>
        <p:spPr>
          <a:xfrm>
            <a:off x="4078951" y="307796"/>
            <a:ext cx="1429689" cy="7786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5" name="Picture 2" descr="A red and white text&#10;&#10;Description automatically generated">
            <a:extLst>
              <a:ext uri="{FF2B5EF4-FFF2-40B4-BE49-F238E27FC236}">
                <a16:creationId xmlns:a16="http://schemas.microsoft.com/office/drawing/2014/main" id="{FED07FD3-0C2A-6503-2443-AED1DABACE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06" y="6060147"/>
            <a:ext cx="3922393" cy="598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28207BA-1BB3-61F7-1D7E-210036A0085F}"/>
              </a:ext>
            </a:extLst>
          </p:cNvPr>
          <p:cNvGrpSpPr/>
          <p:nvPr/>
        </p:nvGrpSpPr>
        <p:grpSpPr>
          <a:xfrm>
            <a:off x="342812" y="324524"/>
            <a:ext cx="4887817" cy="905788"/>
            <a:chOff x="342812" y="324524"/>
            <a:chExt cx="4887817" cy="905788"/>
          </a:xfrm>
        </p:grpSpPr>
        <p:pic>
          <p:nvPicPr>
            <p:cNvPr id="2" name="object 6">
              <a:extLst>
                <a:ext uri="{FF2B5EF4-FFF2-40B4-BE49-F238E27FC236}">
                  <a16:creationId xmlns:a16="http://schemas.microsoft.com/office/drawing/2014/main" id="{DF0C52BD-0428-8809-D5FB-6EE87E457CD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62297" y="324524"/>
              <a:ext cx="4868332" cy="905788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24" name="Picture 23" descr="A logo with red letters&#10;&#10;Description automatically generated">
              <a:extLst>
                <a:ext uri="{FF2B5EF4-FFF2-40B4-BE49-F238E27FC236}">
                  <a16:creationId xmlns:a16="http://schemas.microsoft.com/office/drawing/2014/main" id="{F3EF8BE5-3333-702C-B982-3CD224AA98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812" y="334944"/>
              <a:ext cx="2269098" cy="884948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2391B9B6-5324-AC45-D008-8B9DE5BA722D}"/>
              </a:ext>
            </a:extLst>
          </p:cNvPr>
          <p:cNvSpPr/>
          <p:nvPr/>
        </p:nvSpPr>
        <p:spPr bwMode="auto">
          <a:xfrm>
            <a:off x="2803685" y="422641"/>
            <a:ext cx="2452144" cy="731042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4546A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BF5F731-2C0E-9B66-3272-AD7E00119E4E}"/>
              </a:ext>
            </a:extLst>
          </p:cNvPr>
          <p:cNvSpPr/>
          <p:nvPr/>
        </p:nvSpPr>
        <p:spPr>
          <a:xfrm>
            <a:off x="9398977" y="6019105"/>
            <a:ext cx="2604621" cy="6806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898B6E-F69F-CA5A-8E0F-0A2AC1A0BF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08125" y="6071856"/>
            <a:ext cx="3328704" cy="499915"/>
          </a:xfrm>
          <a:prstGeom prst="rect">
            <a:avLst/>
          </a:prstGeom>
        </p:spPr>
      </p:pic>
      <p:pic>
        <p:nvPicPr>
          <p:cNvPr id="15" name="Picture 14" descr="A blue and white logo&#10;&#10;Description automatically generated">
            <a:extLst>
              <a:ext uri="{FF2B5EF4-FFF2-40B4-BE49-F238E27FC236}">
                <a16:creationId xmlns:a16="http://schemas.microsoft.com/office/drawing/2014/main" id="{506FF767-9094-E8BE-5656-05FD8CBA222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532" y="383718"/>
            <a:ext cx="1933475" cy="77866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0962FE4-5171-09A5-AA24-3088E255E48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785057" y="1907456"/>
            <a:ext cx="1634783" cy="1627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7110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89F934-56F5-45A6-5E4D-25BD38E8AB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27A1D587-61E2-5392-A906-4A1B8D17A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3896" y="1188114"/>
            <a:ext cx="2791419" cy="3479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A person taking a selfie&#10;&#10;Description automatically generated">
            <a:extLst>
              <a:ext uri="{FF2B5EF4-FFF2-40B4-BE49-F238E27FC236}">
                <a16:creationId xmlns:a16="http://schemas.microsoft.com/office/drawing/2014/main" id="{78F11F35-AB3B-E566-09FE-747410950A2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9489" r="30029" b="8782"/>
          <a:stretch/>
        </p:blipFill>
        <p:spPr>
          <a:xfrm>
            <a:off x="6194651" y="1161479"/>
            <a:ext cx="2744379" cy="3478373"/>
          </a:xfrm>
          <a:prstGeom prst="rect">
            <a:avLst/>
          </a:prstGeom>
        </p:spPr>
      </p:pic>
      <p:pic>
        <p:nvPicPr>
          <p:cNvPr id="9" name="Picture 8" descr="A person sitting on a stone ledge&#10;&#10;Description automatically generated">
            <a:extLst>
              <a:ext uri="{FF2B5EF4-FFF2-40B4-BE49-F238E27FC236}">
                <a16:creationId xmlns:a16="http://schemas.microsoft.com/office/drawing/2014/main" id="{135A6942-342A-B03B-D4D6-379333B59FD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6609" t="22954" r="31680" b="22785"/>
          <a:stretch/>
        </p:blipFill>
        <p:spPr>
          <a:xfrm>
            <a:off x="384284" y="1161479"/>
            <a:ext cx="2673821" cy="347837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B2ADEC-F8D7-4C95-AD46-075F03B828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FC083B9-1F6F-A16F-B43B-09EB7104ADEC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0F3673C-BCAC-E368-40E5-3C4CF6DB5453}"/>
              </a:ext>
            </a:extLst>
          </p:cNvPr>
          <p:cNvSpPr txBox="1"/>
          <p:nvPr/>
        </p:nvSpPr>
        <p:spPr>
          <a:xfrm>
            <a:off x="355600" y="463547"/>
            <a:ext cx="29161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/>
              <a:t>Meet the team</a:t>
            </a:r>
          </a:p>
        </p:txBody>
      </p:sp>
      <p:pic>
        <p:nvPicPr>
          <p:cNvPr id="7" name="Picture 6" descr="A person wearing glasses and a blue jacket&#10;&#10;Description automatically generated">
            <a:extLst>
              <a:ext uri="{FF2B5EF4-FFF2-40B4-BE49-F238E27FC236}">
                <a16:creationId xmlns:a16="http://schemas.microsoft.com/office/drawing/2014/main" id="{31DAD1B2-F134-F8F0-ADB7-FAE181C7C24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0259" t="4795" r="13901" b="-8584"/>
          <a:stretch/>
        </p:blipFill>
        <p:spPr>
          <a:xfrm>
            <a:off x="3258410" y="1175469"/>
            <a:ext cx="2744378" cy="375582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87A15E2-7C35-7E71-AFDF-3A8010259109}"/>
              </a:ext>
            </a:extLst>
          </p:cNvPr>
          <p:cNvSpPr txBox="1"/>
          <p:nvPr/>
        </p:nvSpPr>
        <p:spPr>
          <a:xfrm>
            <a:off x="355600" y="5222736"/>
            <a:ext cx="1137748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melia Noonan, Data Scientist, NHS England</a:t>
            </a:r>
          </a:p>
          <a:p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dnan Shroufi, Senior Data Scientist, NHS Business Services Authority</a:t>
            </a:r>
          </a:p>
          <a:p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James Harrison, Principal Knowledge Transfer Facilitator, OHID, DHSC</a:t>
            </a:r>
          </a:p>
          <a:p>
            <a:r>
              <a:rPr lang="en-GB" dirty="0"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arah Blundell, </a:t>
            </a:r>
            <a:r>
              <a:rPr lang="en-GB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Lead for Analytical Development, NHS Englan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1888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89289-B6AF-797C-EE1F-378FEA3CE3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0BF5FD-68D7-FAD2-EB95-33BED863AA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ABB3D6B-E4D3-B21D-0197-A67FE197C993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C716D72-B9BD-A7A5-2363-60A0CC2C3DC1}"/>
              </a:ext>
            </a:extLst>
          </p:cNvPr>
          <p:cNvSpPr txBox="1"/>
          <p:nvPr/>
        </p:nvSpPr>
        <p:spPr>
          <a:xfrm>
            <a:off x="355600" y="583913"/>
            <a:ext cx="1145377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/>
              <a:t>When was the National Health Service (NHS) established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D7259C3-9D8E-6EDE-E9ED-E777BC83141D}"/>
              </a:ext>
            </a:extLst>
          </p:cNvPr>
          <p:cNvSpPr/>
          <p:nvPr/>
        </p:nvSpPr>
        <p:spPr>
          <a:xfrm>
            <a:off x="1604632" y="2396439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B46DA3C-538F-A728-A8FE-16CC345621E4}"/>
              </a:ext>
            </a:extLst>
          </p:cNvPr>
          <p:cNvSpPr/>
          <p:nvPr/>
        </p:nvSpPr>
        <p:spPr>
          <a:xfrm>
            <a:off x="1604632" y="3612287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1947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F02386-B8B5-57BA-8C4C-05B2D88A64A9}"/>
              </a:ext>
            </a:extLst>
          </p:cNvPr>
          <p:cNvSpPr/>
          <p:nvPr/>
        </p:nvSpPr>
        <p:spPr>
          <a:xfrm>
            <a:off x="4735531" y="2396439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A149140-ADCA-7D28-250D-F7956EFBA187}"/>
              </a:ext>
            </a:extLst>
          </p:cNvPr>
          <p:cNvSpPr/>
          <p:nvPr/>
        </p:nvSpPr>
        <p:spPr>
          <a:xfrm>
            <a:off x="4735531" y="3612287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194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09C560-1C61-E7A0-560E-A6794EE0FDEA}"/>
              </a:ext>
            </a:extLst>
          </p:cNvPr>
          <p:cNvSpPr/>
          <p:nvPr/>
        </p:nvSpPr>
        <p:spPr>
          <a:xfrm>
            <a:off x="8018830" y="2396439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D8FF7C5-C778-C855-13E4-23688CE55EF8}"/>
              </a:ext>
            </a:extLst>
          </p:cNvPr>
          <p:cNvSpPr/>
          <p:nvPr/>
        </p:nvSpPr>
        <p:spPr>
          <a:xfrm>
            <a:off x="8018830" y="3612287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1949</a:t>
            </a:r>
          </a:p>
        </p:txBody>
      </p:sp>
      <p:pic>
        <p:nvPicPr>
          <p:cNvPr id="13" name="Graphic 12" descr="Badge Tick with solid fill">
            <a:extLst>
              <a:ext uri="{FF2B5EF4-FFF2-40B4-BE49-F238E27FC236}">
                <a16:creationId xmlns:a16="http://schemas.microsoft.com/office/drawing/2014/main" id="{91EF0438-79D7-8BEF-D92A-F58B832372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69355" y="422021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4669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1EFB9C-DAAA-6B93-43C7-EB32D68CAC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F24C98-A56E-4558-389F-E9293976BD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8A68DD4-560F-E054-2C58-BCFB9D11DD08}"/>
              </a:ext>
            </a:extLst>
          </p:cNvPr>
          <p:cNvCxnSpPr/>
          <p:nvPr/>
        </p:nvCxnSpPr>
        <p:spPr>
          <a:xfrm>
            <a:off x="506325" y="2129832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91393B1-2110-3007-E475-90349B0D8E09}"/>
              </a:ext>
            </a:extLst>
          </p:cNvPr>
          <p:cNvSpPr txBox="1"/>
          <p:nvPr/>
        </p:nvSpPr>
        <p:spPr>
          <a:xfrm>
            <a:off x="355601" y="463547"/>
            <a:ext cx="102152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/>
              <a:t>In the year April 2023 to March 2024, how many attendances were there at Accident and Emergency departments in England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B52AC9-C137-3CE1-E902-F7161B427E10}"/>
              </a:ext>
            </a:extLst>
          </p:cNvPr>
          <p:cNvSpPr/>
          <p:nvPr/>
        </p:nvSpPr>
        <p:spPr>
          <a:xfrm>
            <a:off x="1716144" y="2515385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F111236-B671-588C-EFF5-180385D59584}"/>
              </a:ext>
            </a:extLst>
          </p:cNvPr>
          <p:cNvSpPr/>
          <p:nvPr/>
        </p:nvSpPr>
        <p:spPr>
          <a:xfrm>
            <a:off x="1716144" y="3731233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23 Mill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04F91B-085E-1C41-7FEF-A7F8125B93F4}"/>
              </a:ext>
            </a:extLst>
          </p:cNvPr>
          <p:cNvSpPr/>
          <p:nvPr/>
        </p:nvSpPr>
        <p:spPr>
          <a:xfrm>
            <a:off x="4847043" y="2515385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01005B-5AF3-6DAC-A649-297B918C1E3E}"/>
              </a:ext>
            </a:extLst>
          </p:cNvPr>
          <p:cNvSpPr/>
          <p:nvPr/>
        </p:nvSpPr>
        <p:spPr>
          <a:xfrm>
            <a:off x="4847043" y="3731233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20 Mill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3FDC02-2D26-EB39-5BE0-6F88FF25CCF2}"/>
              </a:ext>
            </a:extLst>
          </p:cNvPr>
          <p:cNvSpPr/>
          <p:nvPr/>
        </p:nvSpPr>
        <p:spPr>
          <a:xfrm>
            <a:off x="8130342" y="2515385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B9126FF-40D5-C68B-65BA-0CACAE31DDB7}"/>
              </a:ext>
            </a:extLst>
          </p:cNvPr>
          <p:cNvSpPr/>
          <p:nvPr/>
        </p:nvSpPr>
        <p:spPr>
          <a:xfrm>
            <a:off x="8130342" y="3731233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26 Million</a:t>
            </a:r>
          </a:p>
        </p:txBody>
      </p:sp>
      <p:pic>
        <p:nvPicPr>
          <p:cNvPr id="2" name="Graphic 1" descr="Badge Tick with solid fill">
            <a:extLst>
              <a:ext uri="{FF2B5EF4-FFF2-40B4-BE49-F238E27FC236}">
                <a16:creationId xmlns:a16="http://schemas.microsoft.com/office/drawing/2014/main" id="{FD98C853-A246-717D-026A-6BA8F18860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18656" y="433915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2846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0E7861-F511-AC74-37F6-6E31EBAC9A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936A6BA-6BAA-B674-AB2B-203FC2EFF1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5C66A7E-DC8B-3413-3EA4-AA592AA03FA9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F3926E3-5E63-D405-74FD-12811647F64D}"/>
              </a:ext>
            </a:extLst>
          </p:cNvPr>
          <p:cNvSpPr txBox="1"/>
          <p:nvPr/>
        </p:nvSpPr>
        <p:spPr>
          <a:xfrm>
            <a:off x="355600" y="463547"/>
            <a:ext cx="78999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/>
              <a:t>What is the annual budget for the NHS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C6E3982-711F-DF91-ADA0-66F63D8B1AD7}"/>
              </a:ext>
            </a:extLst>
          </p:cNvPr>
          <p:cNvSpPr/>
          <p:nvPr/>
        </p:nvSpPr>
        <p:spPr>
          <a:xfrm>
            <a:off x="1841322" y="2381571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DD06F7-58AE-B9C4-1B4E-79F3A62063FB}"/>
              </a:ext>
            </a:extLst>
          </p:cNvPr>
          <p:cNvSpPr/>
          <p:nvPr/>
        </p:nvSpPr>
        <p:spPr>
          <a:xfrm>
            <a:off x="1841322" y="3597419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£100 Mill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CE7B0D-6323-9B89-015C-801507FD561C}"/>
              </a:ext>
            </a:extLst>
          </p:cNvPr>
          <p:cNvSpPr/>
          <p:nvPr/>
        </p:nvSpPr>
        <p:spPr>
          <a:xfrm>
            <a:off x="4972221" y="2381571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0C2596-CBB7-7038-BD02-CADD47B34130}"/>
              </a:ext>
            </a:extLst>
          </p:cNvPr>
          <p:cNvSpPr/>
          <p:nvPr/>
        </p:nvSpPr>
        <p:spPr>
          <a:xfrm>
            <a:off x="4972221" y="3597419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£1 Bill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045AAF-1876-27F2-9FC7-9160C2D985ED}"/>
              </a:ext>
            </a:extLst>
          </p:cNvPr>
          <p:cNvSpPr/>
          <p:nvPr/>
        </p:nvSpPr>
        <p:spPr>
          <a:xfrm>
            <a:off x="8255520" y="2381571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312C62-82B0-487C-FC05-41C69A8642BE}"/>
              </a:ext>
            </a:extLst>
          </p:cNvPr>
          <p:cNvSpPr/>
          <p:nvPr/>
        </p:nvSpPr>
        <p:spPr>
          <a:xfrm>
            <a:off x="8255520" y="3597419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£181 Billion</a:t>
            </a:r>
          </a:p>
        </p:txBody>
      </p:sp>
      <p:pic>
        <p:nvPicPr>
          <p:cNvPr id="2" name="Graphic 1" descr="Badge Tick with solid fill">
            <a:extLst>
              <a:ext uri="{FF2B5EF4-FFF2-40B4-BE49-F238E27FC236}">
                <a16:creationId xmlns:a16="http://schemas.microsoft.com/office/drawing/2014/main" id="{615CA6DE-45E0-74DF-8749-ACEFB2374D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89344" y="420534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1209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0E7861-F511-AC74-37F6-6E31EBAC9A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936A6BA-6BAA-B674-AB2B-203FC2EFF1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5C66A7E-DC8B-3413-3EA4-AA592AA03FA9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F3926E3-5E63-D405-74FD-12811647F64D}"/>
              </a:ext>
            </a:extLst>
          </p:cNvPr>
          <p:cNvSpPr txBox="1"/>
          <p:nvPr/>
        </p:nvSpPr>
        <p:spPr>
          <a:xfrm>
            <a:off x="355600" y="463547"/>
            <a:ext cx="856516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/>
              <a:t>How much is the NHS data worth per year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C6E3982-711F-DF91-ADA0-66F63D8B1AD7}"/>
              </a:ext>
            </a:extLst>
          </p:cNvPr>
          <p:cNvSpPr/>
          <p:nvPr/>
        </p:nvSpPr>
        <p:spPr>
          <a:xfrm>
            <a:off x="1841322" y="2381571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£2b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DD06F7-58AE-B9C4-1B4E-79F3A62063FB}"/>
              </a:ext>
            </a:extLst>
          </p:cNvPr>
          <p:cNvSpPr/>
          <p:nvPr/>
        </p:nvSpPr>
        <p:spPr>
          <a:xfrm>
            <a:off x="1841322" y="3597419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CE7B0D-6323-9B89-015C-801507FD561C}"/>
              </a:ext>
            </a:extLst>
          </p:cNvPr>
          <p:cNvSpPr/>
          <p:nvPr/>
        </p:nvSpPr>
        <p:spPr>
          <a:xfrm>
            <a:off x="4972221" y="2381571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£6b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0C2596-CBB7-7038-BD02-CADD47B34130}"/>
              </a:ext>
            </a:extLst>
          </p:cNvPr>
          <p:cNvSpPr/>
          <p:nvPr/>
        </p:nvSpPr>
        <p:spPr>
          <a:xfrm>
            <a:off x="4972221" y="3597419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B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045AAF-1876-27F2-9FC7-9160C2D985ED}"/>
              </a:ext>
            </a:extLst>
          </p:cNvPr>
          <p:cNvSpPr/>
          <p:nvPr/>
        </p:nvSpPr>
        <p:spPr>
          <a:xfrm>
            <a:off x="8255520" y="2381571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£9b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312C62-82B0-487C-FC05-41C69A8642BE}"/>
              </a:ext>
            </a:extLst>
          </p:cNvPr>
          <p:cNvSpPr/>
          <p:nvPr/>
        </p:nvSpPr>
        <p:spPr>
          <a:xfrm>
            <a:off x="8255520" y="3597419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C</a:t>
            </a:r>
          </a:p>
        </p:txBody>
      </p:sp>
      <p:pic>
        <p:nvPicPr>
          <p:cNvPr id="2" name="Graphic 1" descr="Badge Tick with solid fill">
            <a:extLst>
              <a:ext uri="{FF2B5EF4-FFF2-40B4-BE49-F238E27FC236}">
                <a16:creationId xmlns:a16="http://schemas.microsoft.com/office/drawing/2014/main" id="{615CA6DE-45E0-74DF-8749-ACEFB2374D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10045" y="4547787"/>
            <a:ext cx="914400" cy="9144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8F62057-1841-E46A-BF47-1845E9001C7D}"/>
              </a:ext>
            </a:extLst>
          </p:cNvPr>
          <p:cNvSpPr txBox="1"/>
          <p:nvPr/>
        </p:nvSpPr>
        <p:spPr>
          <a:xfrm>
            <a:off x="8610220" y="6412555"/>
            <a:ext cx="3314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ource: 2019 Ernst and Young</a:t>
            </a:r>
          </a:p>
        </p:txBody>
      </p:sp>
    </p:spTree>
    <p:extLst>
      <p:ext uri="{BB962C8B-B14F-4D97-AF65-F5344CB8AC3E}">
        <p14:creationId xmlns:p14="http://schemas.microsoft.com/office/powerpoint/2010/main" val="1775019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0E7861-F511-AC74-37F6-6E31EBAC9A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936A6BA-6BAA-B674-AB2B-203FC2EFF1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5C66A7E-DC8B-3413-3EA4-AA592AA03FA9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F3926E3-5E63-D405-74FD-12811647F64D}"/>
              </a:ext>
            </a:extLst>
          </p:cNvPr>
          <p:cNvSpPr txBox="1"/>
          <p:nvPr/>
        </p:nvSpPr>
        <p:spPr>
          <a:xfrm>
            <a:off x="355600" y="27682"/>
            <a:ext cx="103688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/>
              <a:t>According to AnalystX how many Data Analysts work in the health and care system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C6E3982-711F-DF91-ADA0-66F63D8B1AD7}"/>
              </a:ext>
            </a:extLst>
          </p:cNvPr>
          <p:cNvSpPr/>
          <p:nvPr/>
        </p:nvSpPr>
        <p:spPr>
          <a:xfrm>
            <a:off x="1841322" y="2381571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7,01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DD06F7-58AE-B9C4-1B4E-79F3A62063FB}"/>
              </a:ext>
            </a:extLst>
          </p:cNvPr>
          <p:cNvSpPr/>
          <p:nvPr/>
        </p:nvSpPr>
        <p:spPr>
          <a:xfrm>
            <a:off x="1841322" y="3597419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CE7B0D-6323-9B89-015C-801507FD561C}"/>
              </a:ext>
            </a:extLst>
          </p:cNvPr>
          <p:cNvSpPr/>
          <p:nvPr/>
        </p:nvSpPr>
        <p:spPr>
          <a:xfrm>
            <a:off x="4972221" y="2381571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8,345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0C2596-CBB7-7038-BD02-CADD47B34130}"/>
              </a:ext>
            </a:extLst>
          </p:cNvPr>
          <p:cNvSpPr/>
          <p:nvPr/>
        </p:nvSpPr>
        <p:spPr>
          <a:xfrm>
            <a:off x="4972221" y="3597419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B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045AAF-1876-27F2-9FC7-9160C2D985ED}"/>
              </a:ext>
            </a:extLst>
          </p:cNvPr>
          <p:cNvSpPr/>
          <p:nvPr/>
        </p:nvSpPr>
        <p:spPr>
          <a:xfrm>
            <a:off x="8255520" y="2381571"/>
            <a:ext cx="2291024" cy="12158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600" b="1" dirty="0">
                <a:solidFill>
                  <a:schemeClr val="bg1"/>
                </a:solidFill>
              </a:rPr>
              <a:t>9,97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312C62-82B0-487C-FC05-41C69A8642BE}"/>
              </a:ext>
            </a:extLst>
          </p:cNvPr>
          <p:cNvSpPr/>
          <p:nvPr/>
        </p:nvSpPr>
        <p:spPr>
          <a:xfrm>
            <a:off x="8255520" y="3597419"/>
            <a:ext cx="2291024" cy="12158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b="1" dirty="0"/>
              <a:t>C</a:t>
            </a:r>
          </a:p>
        </p:txBody>
      </p:sp>
      <p:pic>
        <p:nvPicPr>
          <p:cNvPr id="2" name="Graphic 1" descr="Badge Tick with solid fill">
            <a:extLst>
              <a:ext uri="{FF2B5EF4-FFF2-40B4-BE49-F238E27FC236}">
                <a16:creationId xmlns:a16="http://schemas.microsoft.com/office/drawing/2014/main" id="{615CA6DE-45E0-74DF-8749-ACEFB2374D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80317" y="4356067"/>
            <a:ext cx="914400" cy="914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E1DDA61-FC41-9BD2-7A83-F2990A7CDDA2}"/>
              </a:ext>
            </a:extLst>
          </p:cNvPr>
          <p:cNvSpPr txBox="1"/>
          <p:nvPr/>
        </p:nvSpPr>
        <p:spPr>
          <a:xfrm>
            <a:off x="7263245" y="5958763"/>
            <a:ext cx="60944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hlinkClick r:id="rId6"/>
              </a:rPr>
              <a:t>AnalystX Observatory - AnalystX - FutureNHS Collaboration Platfor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4399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8B6EE8-9114-F0F2-A29E-01634984F9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3B37C0A-6168-23AD-2EA5-0FE9776688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445" y="177794"/>
            <a:ext cx="1200870" cy="46990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4921F58-AEC6-1E44-9173-AD995EFD8F0D}"/>
              </a:ext>
            </a:extLst>
          </p:cNvPr>
          <p:cNvCxnSpPr/>
          <p:nvPr/>
        </p:nvCxnSpPr>
        <p:spPr>
          <a:xfrm>
            <a:off x="355600" y="1104900"/>
            <a:ext cx="11569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9B95DE5-4C29-F008-F804-19CCC110F127}"/>
              </a:ext>
            </a:extLst>
          </p:cNvPr>
          <p:cNvSpPr txBox="1"/>
          <p:nvPr/>
        </p:nvSpPr>
        <p:spPr>
          <a:xfrm>
            <a:off x="355600" y="463547"/>
            <a:ext cx="99485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/>
              <a:t>What are you hoping to learn from this challenge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43B8F4-0AD1-B81C-6F81-29C45C15F733}"/>
              </a:ext>
            </a:extLst>
          </p:cNvPr>
          <p:cNvSpPr txBox="1"/>
          <p:nvPr/>
        </p:nvSpPr>
        <p:spPr>
          <a:xfrm>
            <a:off x="707680" y="1471194"/>
            <a:ext cx="10617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n the chat box, let us know the things you are hoping to learn</a:t>
            </a:r>
          </a:p>
          <a:p>
            <a:endParaRPr lang="en-GB" dirty="0"/>
          </a:p>
          <a:p>
            <a:endParaRPr lang="en-GB" dirty="0"/>
          </a:p>
        </p:txBody>
      </p:sp>
      <p:pic>
        <p:nvPicPr>
          <p:cNvPr id="7" name="Picture 6" descr="A person's head with various icons&#10;&#10;Description automatically generated">
            <a:extLst>
              <a:ext uri="{FF2B5EF4-FFF2-40B4-BE49-F238E27FC236}">
                <a16:creationId xmlns:a16="http://schemas.microsoft.com/office/drawing/2014/main" id="{01483736-4E1C-3C62-63C8-204BBFC76A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1080" y="2213210"/>
            <a:ext cx="7010400" cy="394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2710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HSD-Refresh-Theme-NOV1120B">
  <a:themeElements>
    <a:clrScheme name="Custom 2">
      <a:dk1>
        <a:srgbClr val="FFFFFF"/>
      </a:dk1>
      <a:lt1>
        <a:srgbClr val="231F20"/>
      </a:lt1>
      <a:dk2>
        <a:srgbClr val="005EB8"/>
      </a:dk2>
      <a:lt2>
        <a:srgbClr val="F4F6F8"/>
      </a:lt2>
      <a:accent1>
        <a:srgbClr val="003087"/>
      </a:accent1>
      <a:accent2>
        <a:srgbClr val="768692"/>
      </a:accent2>
      <a:accent3>
        <a:srgbClr val="C7CED3"/>
      </a:accent3>
      <a:accent4>
        <a:srgbClr val="99DDEB"/>
      </a:accent4>
      <a:accent5>
        <a:srgbClr val="80D2CC"/>
      </a:accent5>
      <a:accent6>
        <a:srgbClr val="425563"/>
      </a:accent6>
      <a:hlink>
        <a:srgbClr val="005EB8"/>
      </a:hlink>
      <a:folHlink>
        <a:srgbClr val="0030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HSD-PPT-Template-Refresh_NOV2020-B" id="{06B772CD-B1AE-2743-BE7F-0BA8B46714EA}" vid="{16F65E12-3586-BC44-90B1-43C17D38503A}"/>
    </a:ext>
  </a:extLst>
</a:theme>
</file>

<file path=ppt/theme/theme2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_New_PPT_16x9_Template_Sep22_v2  -  Read-Only" id="{EE3E7A9B-3AB6-4322-B87F-828C0A0D3317}" vid="{EC6655C6-C3EC-4531-B19E-81C81EAA6C18}"/>
    </a:ext>
  </a:extLst>
</a:theme>
</file>

<file path=ppt/theme/theme3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83dbd6a-52bc-47be-8bbf-a5e7a4b50691">
      <Terms xmlns="http://schemas.microsoft.com/office/infopath/2007/PartnerControls"/>
    </lcf76f155ced4ddcb4097134ff3c332f>
    <TaxCatchAll xmlns="c5584077-21f4-4632-8721-a1aa69c4bc0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295B04DF43D042B72D90E445380A4C" ma:contentTypeVersion="15" ma:contentTypeDescription="Create a new document." ma:contentTypeScope="" ma:versionID="f2bbe6e8e81080134c827f218db7b4b7">
  <xsd:schema xmlns:xsd="http://www.w3.org/2001/XMLSchema" xmlns:xs="http://www.w3.org/2001/XMLSchema" xmlns:p="http://schemas.microsoft.com/office/2006/metadata/properties" xmlns:ns2="583dbd6a-52bc-47be-8bbf-a5e7a4b50691" xmlns:ns3="c5584077-21f4-4632-8721-a1aa69c4bc0a" targetNamespace="http://schemas.microsoft.com/office/2006/metadata/properties" ma:root="true" ma:fieldsID="d07823e54031449bf45fef9e8744547f" ns2:_="" ns3:_="">
    <xsd:import namespace="583dbd6a-52bc-47be-8bbf-a5e7a4b50691"/>
    <xsd:import namespace="c5584077-21f4-4632-8721-a1aa69c4bc0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3dbd6a-52bc-47be-8bbf-a5e7a4b506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843a7d6-e6d7-4a84-a42c-35c8d6b40c0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584077-21f4-4632-8721-a1aa69c4bc0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7a03b73e-0412-4de6-a22d-ae2fdf758c53}" ma:internalName="TaxCatchAll" ma:showField="CatchAllData" ma:web="c5584077-21f4-4632-8721-a1aa69c4bc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7B6D4F5-ECA0-4A22-A4DD-3335756FD66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2B3C52-C4E5-4003-8240-632FDE102EAB}">
  <ds:schemaRefs>
    <ds:schemaRef ds:uri="http://purl.org/dc/dcmitype/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c5584077-21f4-4632-8721-a1aa69c4bc0a"/>
    <ds:schemaRef ds:uri="http://schemas.microsoft.com/office/2006/documentManagement/types"/>
    <ds:schemaRef ds:uri="583dbd6a-52bc-47be-8bbf-a5e7a4b50691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9856BEC-773F-451A-A7E3-B2E8197316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3dbd6a-52bc-47be-8bbf-a5e7a4b50691"/>
    <ds:schemaRef ds:uri="c5584077-21f4-4632-8721-a1aa69c4bc0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37c354b2-85b0-47f5-b222-07b48d774ee3}" enabled="0" method="" siteId="{37c354b2-85b0-47f5-b222-07b48d774ee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53</TotalTime>
  <Words>2008</Words>
  <Application>Microsoft Office PowerPoint</Application>
  <PresentationFormat>Widescreen</PresentationFormat>
  <Paragraphs>298</Paragraphs>
  <Slides>26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ptos</vt:lpstr>
      <vt:lpstr>Arial</vt:lpstr>
      <vt:lpstr>Calibri</vt:lpstr>
      <vt:lpstr>Calibri Light</vt:lpstr>
      <vt:lpstr>NHSD-Refresh-Theme-NOV1120B</vt:lpstr>
      <vt:lpstr>GSK </vt:lpstr>
      <vt:lpstr>1_Office Theme</vt:lpstr>
      <vt:lpstr>think-cell Slide</vt:lpstr>
      <vt:lpstr>Welcome to the “Step Up” –  NHS live online career challenge</vt:lpstr>
      <vt:lpstr>Digdata – Step U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“Step Up” – NHS live online career challeng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Gregory Wye</dc:creator>
  <cp:lastModifiedBy>rachel keane</cp:lastModifiedBy>
  <cp:revision>10</cp:revision>
  <dcterms:created xsi:type="dcterms:W3CDTF">2020-11-30T10:49:03Z</dcterms:created>
  <dcterms:modified xsi:type="dcterms:W3CDTF">2025-03-04T16:5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295B04DF43D042B72D90E445380A4C</vt:lpwstr>
  </property>
  <property fmtid="{D5CDD505-2E9C-101B-9397-08002B2CF9AE}" pid="3" name="_dlc_DocIdItemGuid">
    <vt:lpwstr>56579ddb-1cdf-4035-9a3d-2da04fab6c26</vt:lpwstr>
  </property>
  <property fmtid="{D5CDD505-2E9C-101B-9397-08002B2CF9AE}" pid="4" name="MediaServiceImageTags">
    <vt:lpwstr/>
  </property>
  <property fmtid="{D5CDD505-2E9C-101B-9397-08002B2CF9AE}" pid="5" name="Order">
    <vt:r8>15100</vt:r8>
  </property>
  <property fmtid="{D5CDD505-2E9C-101B-9397-08002B2CF9AE}" pid="6" name="_ExtendedDescription">
    <vt:lpwstr/>
  </property>
</Properties>
</file>